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wdp" ContentType="image/vnd.ms-photo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8" r:id="rId3"/>
  </p:sldMasterIdLst>
  <p:notesMasterIdLst>
    <p:notesMasterId r:id="rId5"/>
  </p:notesMasterIdLst>
  <p:sldIdLst>
    <p:sldId id="269" r:id="rId4"/>
    <p:sldId id="287" r:id="rId6"/>
    <p:sldId id="289" r:id="rId7"/>
    <p:sldId id="288" r:id="rId8"/>
    <p:sldId id="302" r:id="rId9"/>
    <p:sldId id="290" r:id="rId10"/>
    <p:sldId id="309" r:id="rId11"/>
    <p:sldId id="308" r:id="rId12"/>
    <p:sldId id="293" r:id="rId13"/>
    <p:sldId id="294" r:id="rId14"/>
    <p:sldId id="295" r:id="rId15"/>
    <p:sldId id="296" r:id="rId16"/>
    <p:sldId id="298" r:id="rId17"/>
    <p:sldId id="299" r:id="rId18"/>
    <p:sldId id="313" r:id="rId19"/>
    <p:sldId id="310" r:id="rId20"/>
    <p:sldId id="311" r:id="rId21"/>
    <p:sldId id="312" r:id="rId22"/>
    <p:sldId id="268" r:id="rId23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97E4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中度样式 3 - 强调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146" autoAdjust="0"/>
    <p:restoredTop sz="95365" autoAdjust="0"/>
  </p:normalViewPr>
  <p:slideViewPr>
    <p:cSldViewPr>
      <p:cViewPr>
        <p:scale>
          <a:sx n="90" d="100"/>
          <a:sy n="90" d="100"/>
        </p:scale>
        <p:origin x="-954" y="-12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slide" Target="slides/slide2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3" Type="http://schemas.openxmlformats.org/officeDocument/2006/relationships/slideMaster" Target="slideMasters/slideMaster2.xml"/><Relationship Id="rId26" Type="http://schemas.openxmlformats.org/officeDocument/2006/relationships/tableStyles" Target="tableStyles.xml"/><Relationship Id="rId25" Type="http://schemas.openxmlformats.org/officeDocument/2006/relationships/viewProps" Target="viewProps.xml"/><Relationship Id="rId24" Type="http://schemas.openxmlformats.org/officeDocument/2006/relationships/presProps" Target="presProps.xml"/><Relationship Id="rId23" Type="http://schemas.openxmlformats.org/officeDocument/2006/relationships/slide" Target="slides/slide19.xml"/><Relationship Id="rId22" Type="http://schemas.openxmlformats.org/officeDocument/2006/relationships/slide" Target="slides/slide18.xml"/><Relationship Id="rId21" Type="http://schemas.openxmlformats.org/officeDocument/2006/relationships/slide" Target="slides/slide17.xml"/><Relationship Id="rId20" Type="http://schemas.openxmlformats.org/officeDocument/2006/relationships/slide" Target="slides/slide16.xml"/><Relationship Id="rId2" Type="http://schemas.openxmlformats.org/officeDocument/2006/relationships/theme" Target="theme/theme1.xml"/><Relationship Id="rId19" Type="http://schemas.openxmlformats.org/officeDocument/2006/relationships/slide" Target="slides/slide15.xml"/><Relationship Id="rId18" Type="http://schemas.openxmlformats.org/officeDocument/2006/relationships/slide" Target="slides/slide14.xml"/><Relationship Id="rId17" Type="http://schemas.openxmlformats.org/officeDocument/2006/relationships/slide" Target="slides/slide13.xml"/><Relationship Id="rId16" Type="http://schemas.openxmlformats.org/officeDocument/2006/relationships/slide" Target="slides/slide12.xml"/><Relationship Id="rId15" Type="http://schemas.openxmlformats.org/officeDocument/2006/relationships/slide" Target="slides/slide11.xml"/><Relationship Id="rId14" Type="http://schemas.openxmlformats.org/officeDocument/2006/relationships/slide" Target="slides/slide10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1C4698-BCDA-46C1-B8E4-E869E1090A0A}" type="datetimeFigureOut">
              <a:rPr lang="zh-TW" altLang="en-US" smtClean="0"/>
            </a:fld>
            <a:endParaRPr lang="zh-TW" altLang="en-US"/>
          </a:p>
        </p:txBody>
      </p:sp>
      <p:sp>
        <p:nvSpPr>
          <p:cNvPr id="4" name="投影片圖像版面配置區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TW" altLang="en-US"/>
          </a:p>
        </p:txBody>
      </p:sp>
      <p:sp>
        <p:nvSpPr>
          <p:cNvPr id="5" name="備忘稿版面配置區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TW" altLang="en-US" smtClean="0"/>
              <a:t>按一下以編輯母片文字樣式</a:t>
            </a:r>
            <a:endParaRPr lang="zh-TW" altLang="en-US" smtClean="0"/>
          </a:p>
          <a:p>
            <a:pPr lvl="1"/>
            <a:r>
              <a:rPr lang="zh-TW" altLang="en-US" smtClean="0"/>
              <a:t>第二層</a:t>
            </a:r>
            <a:endParaRPr lang="zh-TW" altLang="en-US" smtClean="0"/>
          </a:p>
          <a:p>
            <a:pPr lvl="2"/>
            <a:r>
              <a:rPr lang="zh-TW" altLang="en-US" smtClean="0"/>
              <a:t>第三層</a:t>
            </a:r>
            <a:endParaRPr lang="zh-TW" altLang="en-US" smtClean="0"/>
          </a:p>
          <a:p>
            <a:pPr lvl="3"/>
            <a:r>
              <a:rPr lang="zh-TW" altLang="en-US" smtClean="0"/>
              <a:t>第四層</a:t>
            </a:r>
            <a:endParaRPr lang="zh-TW" altLang="en-US" smtClean="0"/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6F0D0D-D5F5-4A23-B546-EC70A997E448}" type="slidenum">
              <a:rPr lang="zh-TW" altLang="en-US" smtClean="0"/>
            </a:fld>
            <a:endParaRPr lang="zh-TW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投影片圖像版面配置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備忘稿版面配置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TW" altLang="en-US" smtClean="0">
              <a:ea typeface="PMingLiU" panose="02020500000000000000" pitchFamily="18" charset="-120"/>
            </a:endParaRPr>
          </a:p>
        </p:txBody>
      </p:sp>
      <p:sp>
        <p:nvSpPr>
          <p:cNvPr id="10244" name="投影片編號版面配置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2B25F730-1F52-485B-B5BB-A200BC2AADF0}" type="slidenum">
              <a:rPr lang="en-US" altLang="zh-TW">
                <a:solidFill>
                  <a:prstClr val="black"/>
                </a:solidFill>
              </a:rPr>
            </a:fld>
            <a:endParaRPr lang="en-US" altLang="zh-TW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 smtClean="0">
                <a:latin typeface="Calibri" panose="020F0502020204030204" pitchFamily="34" charset="0"/>
              </a:rPr>
              <a:t>https://www-ssl.intel.com/content/www/us/en/architecture-and-technology/unite/intel-unite-overview.html</a:t>
            </a:r>
            <a:endParaRPr lang="en-US" altLang="zh-TW" dirty="0" smtClean="0">
              <a:latin typeface="Calibri" panose="020F0502020204030204" pitchFamily="34" charset="0"/>
            </a:endParaRPr>
          </a:p>
          <a:p>
            <a:r>
              <a:rPr lang="en-US" altLang="zh-TW" dirty="0" smtClean="0">
                <a:latin typeface="Calibri" panose="020F0502020204030204" pitchFamily="34" charset="0"/>
              </a:rPr>
              <a:t>http://www.intel.com/buy/us/en/audience/unite/</a:t>
            </a:r>
            <a:endParaRPr lang="en-US" altLang="zh-TW" dirty="0" smtClean="0">
              <a:latin typeface="Calibri" panose="020F0502020204030204" pitchFamily="34" charset="0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6F0D0D-D5F5-4A23-B546-EC70A997E448}" type="slidenum">
              <a:rPr lang="zh-TW" altLang="en-US" smtClean="0"/>
            </a:fld>
            <a:endParaRPr lang="zh-TW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image10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5" Type="http://schemas.openxmlformats.org/officeDocument/2006/relationships/image" Target="../media/image4.png"/><Relationship Id="rId4" Type="http://schemas.openxmlformats.org/officeDocument/2006/relationships/image" Target="../media/image3.jpeg"/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Dens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6" y="657225"/>
            <a:ext cx="7679531" cy="5461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BBBDBF"/>
                </a:solidFill>
              </a:rPr>
              <a:t>Presentation Title</a:t>
            </a:r>
            <a:endParaRPr lang="en-US" dirty="0">
              <a:solidFill>
                <a:srgbClr val="BBBDB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5129" y="1333501"/>
            <a:ext cx="7680325" cy="3265490"/>
          </a:xfrm>
          <a:prstGeom prst="rect">
            <a:avLst/>
          </a:prstGeom>
        </p:spPr>
        <p:txBody>
          <a:bodyPr/>
          <a:lstStyle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  <a:endParaRPr lang="en-US" dirty="0" smtClean="0"/>
          </a:p>
          <a:p>
            <a:pPr lvl="2"/>
            <a:r>
              <a:rPr lang="en-US" dirty="0" smtClean="0"/>
              <a:t>Third level</a:t>
            </a:r>
            <a:endParaRPr lang="en-US" dirty="0" smtClean="0"/>
          </a:p>
          <a:p>
            <a:pPr lvl="3"/>
            <a:r>
              <a:rPr lang="en-US" dirty="0" smtClean="0"/>
              <a:t>Fourth level</a:t>
            </a:r>
            <a:endParaRPr lang="en-US" dirty="0" smtClean="0"/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8361753" y="214417"/>
            <a:ext cx="548753" cy="138500"/>
          </a:xfrm>
        </p:spPr>
        <p:txBody>
          <a:bodyPr/>
          <a:lstStyle/>
          <a:p>
            <a:r>
              <a:rPr lang="en-US" smtClean="0">
                <a:solidFill>
                  <a:srgbClr val="414042"/>
                </a:solidFill>
              </a:rPr>
              <a:t>|       </a:t>
            </a:r>
            <a:fld id="{DC460F7E-BF8E-4752-A3EA-71DCEBC1B1D4}" type="slidenum">
              <a:rPr lang="en-US" smtClean="0">
                <a:solidFill>
                  <a:srgbClr val="414042"/>
                </a:solidFill>
              </a:rPr>
            </a:fld>
            <a:endParaRPr lang="en-US" dirty="0">
              <a:solidFill>
                <a:srgbClr val="414042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220157"/>
            <a:ext cx="4086225" cy="112155"/>
          </a:xfrm>
          <a:prstGeom prst="rect">
            <a:avLst/>
          </a:prstGeom>
        </p:spPr>
        <p:txBody>
          <a:bodyPr/>
          <a:lstStyle>
            <a:lvl1pPr marL="290830" indent="-290830">
              <a:defRPr sz="900" cap="all" baseline="0">
                <a:solidFill>
                  <a:schemeClr val="tx1"/>
                </a:solidFill>
                <a:latin typeface="Acer Foco" panose="020B0604050202020203" pitchFamily="34" charset="0"/>
              </a:defRPr>
            </a:lvl1pPr>
          </a:lstStyle>
          <a:p>
            <a:pPr lvl="0"/>
            <a:r>
              <a:rPr lang="en-US" dirty="0" err="1" smtClean="0"/>
              <a:t>x.x</a:t>
            </a:r>
            <a:r>
              <a:rPr lang="en-US" dirty="0" smtClean="0"/>
              <a:t>.	Section number and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65125" y="428625"/>
            <a:ext cx="3657600" cy="228600"/>
          </a:xfrm>
        </p:spPr>
        <p:txBody>
          <a:bodyPr anchor="b" anchorCtr="0"/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 smtClean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125" y="1126158"/>
            <a:ext cx="8412163" cy="1052994"/>
          </a:xfrm>
        </p:spPr>
        <p:txBody>
          <a:bodyPr anchor="b" anchorCtr="0"/>
          <a:lstStyle>
            <a:lvl1pPr>
              <a:defRPr sz="3600" i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125" y="2351676"/>
            <a:ext cx="8412163" cy="131445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9" name="Picture 49" descr="C:\Users\Peter\Desktop\ACER_template_070512\ART\acer_tag_rg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25" y="600934"/>
            <a:ext cx="1505118" cy="508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77" name="Group 5"/>
          <p:cNvGrpSpPr>
            <a:grpSpLocks noChangeAspect="1"/>
          </p:cNvGrpSpPr>
          <p:nvPr userDrawn="1"/>
        </p:nvGrpSpPr>
        <p:grpSpPr bwMode="auto">
          <a:xfrm>
            <a:off x="0" y="3325813"/>
            <a:ext cx="9144000" cy="1817688"/>
            <a:chOff x="0" y="2095"/>
            <a:chExt cx="5760" cy="1145"/>
          </a:xfrm>
        </p:grpSpPr>
        <p:sp>
          <p:nvSpPr>
            <p:cNvPr id="3078" name="Freeform 6"/>
            <p:cNvSpPr/>
            <p:nvPr userDrawn="1"/>
          </p:nvSpPr>
          <p:spPr bwMode="auto">
            <a:xfrm>
              <a:off x="0" y="2095"/>
              <a:ext cx="5760" cy="572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389" y="138"/>
                </a:cxn>
                <a:cxn ang="0">
                  <a:pos x="1389" y="111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1389" h="138">
                  <a:moveTo>
                    <a:pt x="0" y="2"/>
                  </a:moveTo>
                  <a:cubicBezTo>
                    <a:pt x="132" y="9"/>
                    <a:pt x="764" y="33"/>
                    <a:pt x="1389" y="138"/>
                  </a:cubicBezTo>
                  <a:cubicBezTo>
                    <a:pt x="1389" y="111"/>
                    <a:pt x="1389" y="111"/>
                    <a:pt x="1389" y="111"/>
                  </a:cubicBezTo>
                  <a:cubicBezTo>
                    <a:pt x="764" y="23"/>
                    <a:pt x="132" y="5"/>
                    <a:pt x="0" y="0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srgbClr val="414042"/>
                </a:solidFill>
              </a:endParaRPr>
            </a:p>
          </p:txBody>
        </p:sp>
        <p:sp>
          <p:nvSpPr>
            <p:cNvPr id="3079" name="Freeform 7"/>
            <p:cNvSpPr/>
            <p:nvPr userDrawn="1"/>
          </p:nvSpPr>
          <p:spPr bwMode="auto">
            <a:xfrm>
              <a:off x="0" y="2140"/>
              <a:ext cx="5760" cy="1100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096" y="265"/>
                </a:cxn>
                <a:cxn ang="0">
                  <a:pos x="1389" y="265"/>
                </a:cxn>
                <a:cxn ang="0">
                  <a:pos x="1389" y="211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1389" h="265">
                  <a:moveTo>
                    <a:pt x="0" y="16"/>
                  </a:moveTo>
                  <a:cubicBezTo>
                    <a:pt x="112" y="26"/>
                    <a:pt x="578" y="86"/>
                    <a:pt x="1096" y="265"/>
                  </a:cubicBezTo>
                  <a:cubicBezTo>
                    <a:pt x="1389" y="265"/>
                    <a:pt x="1389" y="265"/>
                    <a:pt x="1389" y="265"/>
                  </a:cubicBezTo>
                  <a:cubicBezTo>
                    <a:pt x="1389" y="211"/>
                    <a:pt x="1389" y="211"/>
                    <a:pt x="1389" y="211"/>
                  </a:cubicBezTo>
                  <a:cubicBezTo>
                    <a:pt x="764" y="49"/>
                    <a:pt x="132" y="7"/>
                    <a:pt x="0" y="0"/>
                  </a:cubicBezTo>
                  <a:lnTo>
                    <a:pt x="0" y="16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srgbClr val="414042"/>
                </a:solidFill>
              </a:endParaRPr>
            </a:p>
          </p:txBody>
        </p:sp>
        <p:sp>
          <p:nvSpPr>
            <p:cNvPr id="3080" name="Freeform 8"/>
            <p:cNvSpPr/>
            <p:nvPr userDrawn="1"/>
          </p:nvSpPr>
          <p:spPr bwMode="auto">
            <a:xfrm>
              <a:off x="0" y="2103"/>
              <a:ext cx="5760" cy="913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389" y="220"/>
                </a:cxn>
                <a:cxn ang="0">
                  <a:pos x="1389" y="136"/>
                </a:cxn>
                <a:cxn ang="0">
                  <a:pos x="0" y="0"/>
                </a:cxn>
                <a:cxn ang="0">
                  <a:pos x="0" y="9"/>
                </a:cxn>
              </a:cxnLst>
              <a:rect l="0" t="0" r="r" b="b"/>
              <a:pathLst>
                <a:path w="1389" h="220">
                  <a:moveTo>
                    <a:pt x="0" y="9"/>
                  </a:moveTo>
                  <a:cubicBezTo>
                    <a:pt x="132" y="16"/>
                    <a:pt x="764" y="58"/>
                    <a:pt x="1389" y="220"/>
                  </a:cubicBezTo>
                  <a:cubicBezTo>
                    <a:pt x="1389" y="136"/>
                    <a:pt x="1389" y="136"/>
                    <a:pt x="1389" y="136"/>
                  </a:cubicBezTo>
                  <a:cubicBezTo>
                    <a:pt x="764" y="31"/>
                    <a:pt x="132" y="7"/>
                    <a:pt x="0" y="0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srgbClr val="414042"/>
                </a:solidFill>
              </a:endParaRPr>
            </a:p>
          </p:txBody>
        </p:sp>
      </p:grpSp>
      <p:sp>
        <p:nvSpPr>
          <p:cNvPr id="12" name="Rectangle 11"/>
          <p:cNvSpPr/>
          <p:nvPr userDrawn="1"/>
        </p:nvSpPr>
        <p:spPr>
          <a:xfrm>
            <a:off x="365125" y="4755188"/>
            <a:ext cx="3039336" cy="2492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600" dirty="0" smtClean="0">
                <a:solidFill>
                  <a:srgbClr val="BBBDBF"/>
                </a:solidFill>
              </a:rPr>
              <a:t>This document is the intellectual property of Acer Inc., and was created for</a:t>
            </a:r>
            <a:br>
              <a:rPr lang="en-US" sz="600" dirty="0" smtClean="0">
                <a:solidFill>
                  <a:srgbClr val="BBBDBF"/>
                </a:solidFill>
              </a:rPr>
            </a:br>
            <a:r>
              <a:rPr lang="en-US" sz="600" dirty="0" smtClean="0">
                <a:solidFill>
                  <a:srgbClr val="BBBDBF"/>
                </a:solidFill>
              </a:rPr>
              <a:t>demonstration purposes only. It may not be modified, organized or re-utilized</a:t>
            </a:r>
            <a:br>
              <a:rPr lang="en-US" sz="600" dirty="0" smtClean="0">
                <a:solidFill>
                  <a:srgbClr val="BBBDBF"/>
                </a:solidFill>
              </a:rPr>
            </a:br>
            <a:r>
              <a:rPr lang="en-US" sz="600" dirty="0" smtClean="0">
                <a:solidFill>
                  <a:srgbClr val="BBBDBF"/>
                </a:solidFill>
              </a:rPr>
              <a:t>in any way without the express written permission of the rightful owner. </a:t>
            </a:r>
            <a:endParaRPr lang="en-US" sz="600" dirty="0">
              <a:solidFill>
                <a:srgbClr val="BBBDBF"/>
              </a:solidFill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BBBDBF"/>
                </a:solidFill>
              </a:rPr>
              <a:t>Presentation Title</a:t>
            </a:r>
            <a:endParaRPr lang="en-US" dirty="0">
              <a:solidFill>
                <a:srgbClr val="BBBDBF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460F7E-BF8E-4752-A3EA-71DCEBC1B1D4}" type="slidenum">
              <a:rPr lang="en-US" smtClean="0">
                <a:solidFill>
                  <a:srgbClr val="83B81A"/>
                </a:solidFill>
              </a:rPr>
            </a:fld>
            <a:endParaRPr lang="en-US" dirty="0">
              <a:solidFill>
                <a:srgbClr val="83B81A"/>
              </a:solidFill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65125" y="1060451"/>
            <a:ext cx="4086225" cy="36179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689476" y="1060450"/>
            <a:ext cx="4087812" cy="36179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>
                <a:solidFill>
                  <a:srgbClr val="BBBDBF"/>
                </a:solidFill>
              </a:rPr>
              <a:t>Presentation Title</a:t>
            </a:r>
            <a:endParaRPr lang="en-US" dirty="0">
              <a:solidFill>
                <a:srgbClr val="BBBDBF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460F7E-BF8E-4752-A3EA-71DCEBC1B1D4}" type="slidenum">
              <a:rPr lang="en-US" smtClean="0">
                <a:solidFill>
                  <a:srgbClr val="83B81A"/>
                </a:solidFill>
              </a:rPr>
            </a:fld>
            <a:endParaRPr lang="en-US">
              <a:solidFill>
                <a:srgbClr val="83B81A"/>
              </a:solidFill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/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5125" y="315912"/>
            <a:ext cx="8412163" cy="4360863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2000"/>
              </a:spcBef>
              <a:defRPr sz="3600" i="1">
                <a:solidFill>
                  <a:schemeClr val="accent2"/>
                </a:solidFill>
                <a:latin typeface="+mj-lt"/>
              </a:defRPr>
            </a:lvl1pPr>
            <a:lvl2pPr marL="228600" indent="-228600">
              <a:spcBef>
                <a:spcPts val="800"/>
              </a:spcBef>
              <a:buFont typeface="Acer Foco Light" pitchFamily="34" charset="0"/>
              <a:buChar char="—"/>
              <a:defRPr sz="1400" i="0">
                <a:solidFill>
                  <a:schemeClr val="accent2"/>
                </a:solidFill>
                <a:latin typeface="+mn-lt"/>
              </a:defRPr>
            </a:lvl2pPr>
            <a:lvl3pPr>
              <a:defRPr sz="1400" i="0">
                <a:solidFill>
                  <a:schemeClr val="accent2"/>
                </a:solidFill>
                <a:latin typeface="+mn-lt"/>
              </a:defRPr>
            </a:lvl3pPr>
            <a:lvl4pPr>
              <a:defRPr sz="1400" i="0">
                <a:solidFill>
                  <a:schemeClr val="accent2"/>
                </a:solidFill>
                <a:latin typeface="+mn-lt"/>
              </a:defRPr>
            </a:lvl4pPr>
            <a:lvl5pPr>
              <a:defRPr sz="1400" i="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BBBDBF"/>
                </a:solidFill>
              </a:rPr>
              <a:t>Presentation Title</a:t>
            </a:r>
            <a:endParaRPr lang="en-US">
              <a:solidFill>
                <a:srgbClr val="BBBDB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60F7E-BF8E-4752-A3EA-71DCEBC1B1D4}" type="slidenum">
              <a:rPr lang="en-US" smtClean="0">
                <a:solidFill>
                  <a:srgbClr val="83B81A"/>
                </a:solidFill>
              </a:rPr>
            </a:fld>
            <a:endParaRPr lang="en-US">
              <a:solidFill>
                <a:srgbClr val="83B81A"/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Green Statement/Quot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5125" y="315913"/>
            <a:ext cx="8412163" cy="4360863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2000"/>
              </a:spcBef>
              <a:defRPr sz="3600" i="1">
                <a:solidFill>
                  <a:schemeClr val="bg1"/>
                </a:solidFill>
                <a:latin typeface="+mj-lt"/>
              </a:defRPr>
            </a:lvl1pPr>
            <a:lvl2pPr marL="285750" indent="-285750">
              <a:spcBef>
                <a:spcPts val="800"/>
              </a:spcBef>
              <a:buFont typeface="Acer Foco Light" pitchFamily="34" charset="0"/>
              <a:buChar char="—"/>
              <a:defRPr sz="1400" i="0">
                <a:solidFill>
                  <a:schemeClr val="bg1"/>
                </a:solidFill>
                <a:latin typeface="+mn-lt"/>
              </a:defRPr>
            </a:lvl2pPr>
            <a:lvl3pPr>
              <a:defRPr sz="1400" i="0">
                <a:solidFill>
                  <a:schemeClr val="bg1"/>
                </a:solidFill>
                <a:latin typeface="+mn-lt"/>
              </a:defRPr>
            </a:lvl3pPr>
            <a:lvl4pPr>
              <a:defRPr sz="1400" i="0">
                <a:solidFill>
                  <a:schemeClr val="bg1"/>
                </a:solidFill>
                <a:latin typeface="+mn-lt"/>
              </a:defRPr>
            </a:lvl4pPr>
            <a:lvl5pPr>
              <a:defRPr sz="1400" i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C460F7E-BF8E-4752-A3EA-71DCEBC1B1D4}" type="slidenum">
              <a:rPr lang="en-US" smtClean="0">
                <a:solidFill>
                  <a:prstClr val="white"/>
                </a:solidFill>
              </a:rPr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7" name="Picture 2" descr="\\.psf\Home\Desktop\acer_logo_rg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8823" y="4830757"/>
            <a:ext cx="640080" cy="153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373726" y="4864015"/>
            <a:ext cx="113492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 smtClean="0">
                <a:solidFill>
                  <a:prstClr val="white"/>
                </a:solidFill>
              </a:rPr>
              <a:t>ACER CONFIDENTIAL</a:t>
            </a:r>
            <a:endParaRPr lang="en-US" sz="1000" dirty="0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tement/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5125" y="877888"/>
            <a:ext cx="8412163" cy="3798887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2000"/>
              </a:spcBef>
              <a:defRPr sz="3600" i="1">
                <a:solidFill>
                  <a:schemeClr val="tx1"/>
                </a:solidFill>
                <a:latin typeface="+mj-lt"/>
              </a:defRPr>
            </a:lvl1pPr>
            <a:lvl2pPr marL="228600" indent="-228600">
              <a:spcBef>
                <a:spcPts val="800"/>
              </a:spcBef>
              <a:buFont typeface="Acer Foco Light" pitchFamily="34" charset="0"/>
              <a:buChar char="—"/>
              <a:defRPr sz="1400" i="0">
                <a:solidFill>
                  <a:schemeClr val="tx1"/>
                </a:solidFill>
                <a:latin typeface="+mn-lt"/>
              </a:defRPr>
            </a:lvl2pPr>
            <a:lvl3pPr>
              <a:defRPr sz="1400" i="0">
                <a:solidFill>
                  <a:schemeClr val="tx1"/>
                </a:solidFill>
                <a:latin typeface="+mn-lt"/>
              </a:defRPr>
            </a:lvl3pPr>
            <a:lvl4pPr>
              <a:defRPr sz="1400" i="0">
                <a:solidFill>
                  <a:schemeClr val="tx1"/>
                </a:solidFill>
                <a:latin typeface="+mn-lt"/>
              </a:defRPr>
            </a:lvl4pPr>
            <a:lvl5pPr>
              <a:defRPr sz="1400" i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BBBDBF"/>
                </a:solidFill>
              </a:rPr>
              <a:t>Presentation Title</a:t>
            </a:r>
            <a:endParaRPr lang="en-US">
              <a:solidFill>
                <a:srgbClr val="BBBDB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60F7E-BF8E-4752-A3EA-71DCEBC1B1D4}" type="slidenum">
              <a:rPr lang="en-US" smtClean="0">
                <a:solidFill>
                  <a:srgbClr val="83B81A"/>
                </a:solidFill>
              </a:rPr>
            </a:fld>
            <a:endParaRPr lang="en-US">
              <a:solidFill>
                <a:srgbClr val="83B81A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Green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-16608" y="0"/>
            <a:ext cx="9160608" cy="5143500"/>
            <a:chOff x="-16608" y="0"/>
            <a:chExt cx="9160608" cy="5143500"/>
          </a:xfrm>
        </p:grpSpPr>
        <p:sp>
          <p:nvSpPr>
            <p:cNvPr id="1030" name="Freeform 6"/>
            <p:cNvSpPr/>
            <p:nvPr userDrawn="1"/>
          </p:nvSpPr>
          <p:spPr bwMode="auto">
            <a:xfrm>
              <a:off x="-16608" y="0"/>
              <a:ext cx="8925659" cy="5143500"/>
            </a:xfrm>
            <a:custGeom>
              <a:avLst/>
              <a:gdLst>
                <a:gd name="connsiteX0" fmla="*/ 10005 w 10005"/>
                <a:gd name="connsiteY0" fmla="*/ 10000 h 10000"/>
                <a:gd name="connsiteX1" fmla="*/ 4983 w 10005"/>
                <a:gd name="connsiteY1" fmla="*/ 0 h 10000"/>
                <a:gd name="connsiteX2" fmla="*/ 0 w 10005"/>
                <a:gd name="connsiteY2" fmla="*/ 0 h 10000"/>
                <a:gd name="connsiteX3" fmla="*/ 5 w 10005"/>
                <a:gd name="connsiteY3" fmla="*/ 9873 h 10000"/>
                <a:gd name="connsiteX4" fmla="*/ 26 w 10005"/>
                <a:gd name="connsiteY4" fmla="*/ 10000 h 10000"/>
                <a:gd name="connsiteX5" fmla="*/ 10005 w 10005"/>
                <a:gd name="connsiteY5" fmla="*/ 10000 h 10000"/>
                <a:gd name="connsiteX0-1" fmla="*/ 11646 w 11646"/>
                <a:gd name="connsiteY0-2" fmla="*/ 10000 h 10000"/>
                <a:gd name="connsiteX1-3" fmla="*/ 6624 w 11646"/>
                <a:gd name="connsiteY1-4" fmla="*/ 0 h 10000"/>
                <a:gd name="connsiteX2-5" fmla="*/ 1641 w 11646"/>
                <a:gd name="connsiteY2-6" fmla="*/ 0 h 10000"/>
                <a:gd name="connsiteX3-7" fmla="*/ 1667 w 11646"/>
                <a:gd name="connsiteY3-8" fmla="*/ 10000 h 10000"/>
                <a:gd name="connsiteX4-9" fmla="*/ 11646 w 11646"/>
                <a:gd name="connsiteY4-10" fmla="*/ 10000 h 10000"/>
                <a:gd name="connsiteX0-11" fmla="*/ 11646 w 11646"/>
                <a:gd name="connsiteY0-12" fmla="*/ 10000 h 10000"/>
                <a:gd name="connsiteX1-13" fmla="*/ 6624 w 11646"/>
                <a:gd name="connsiteY1-14" fmla="*/ 0 h 10000"/>
                <a:gd name="connsiteX2-15" fmla="*/ 1641 w 11646"/>
                <a:gd name="connsiteY2-16" fmla="*/ 0 h 10000"/>
                <a:gd name="connsiteX3-17" fmla="*/ 1667 w 11646"/>
                <a:gd name="connsiteY3-18" fmla="*/ 10000 h 10000"/>
                <a:gd name="connsiteX4-19" fmla="*/ 11646 w 11646"/>
                <a:gd name="connsiteY4-20" fmla="*/ 10000 h 10000"/>
                <a:gd name="connsiteX0-21" fmla="*/ 10831 w 10831"/>
                <a:gd name="connsiteY0-22" fmla="*/ 10000 h 10000"/>
                <a:gd name="connsiteX1-23" fmla="*/ 5809 w 10831"/>
                <a:gd name="connsiteY1-24" fmla="*/ 0 h 10000"/>
                <a:gd name="connsiteX2-25" fmla="*/ 826 w 10831"/>
                <a:gd name="connsiteY2-26" fmla="*/ 0 h 10000"/>
                <a:gd name="connsiteX3-27" fmla="*/ 852 w 10831"/>
                <a:gd name="connsiteY3-28" fmla="*/ 10000 h 10000"/>
                <a:gd name="connsiteX4-29" fmla="*/ 10831 w 10831"/>
                <a:gd name="connsiteY4-30" fmla="*/ 10000 h 10000"/>
                <a:gd name="connsiteX0-31" fmla="*/ 10050 w 10050"/>
                <a:gd name="connsiteY0-32" fmla="*/ 10000 h 10000"/>
                <a:gd name="connsiteX1-33" fmla="*/ 5028 w 10050"/>
                <a:gd name="connsiteY1-34" fmla="*/ 0 h 10000"/>
                <a:gd name="connsiteX2-35" fmla="*/ 45 w 10050"/>
                <a:gd name="connsiteY2-36" fmla="*/ 0 h 10000"/>
                <a:gd name="connsiteX3-37" fmla="*/ 71 w 10050"/>
                <a:gd name="connsiteY3-38" fmla="*/ 10000 h 10000"/>
                <a:gd name="connsiteX4-39" fmla="*/ 10050 w 10050"/>
                <a:gd name="connsiteY4-40" fmla="*/ 10000 h 10000"/>
                <a:gd name="connsiteX0-41" fmla="*/ 10050 w 10050"/>
                <a:gd name="connsiteY0-42" fmla="*/ 10000 h 10000"/>
                <a:gd name="connsiteX1-43" fmla="*/ 5028 w 10050"/>
                <a:gd name="connsiteY1-44" fmla="*/ 0 h 10000"/>
                <a:gd name="connsiteX2-45" fmla="*/ 45 w 10050"/>
                <a:gd name="connsiteY2-46" fmla="*/ 0 h 10000"/>
                <a:gd name="connsiteX3-47" fmla="*/ 46 w 10050"/>
                <a:gd name="connsiteY3-48" fmla="*/ 10000 h 10000"/>
                <a:gd name="connsiteX4-49" fmla="*/ 10050 w 10050"/>
                <a:gd name="connsiteY4-50" fmla="*/ 10000 h 10000"/>
                <a:gd name="connsiteX0-51" fmla="*/ 10050 w 10050"/>
                <a:gd name="connsiteY0-52" fmla="*/ 10000 h 10000"/>
                <a:gd name="connsiteX1-53" fmla="*/ 5028 w 10050"/>
                <a:gd name="connsiteY1-54" fmla="*/ 0 h 10000"/>
                <a:gd name="connsiteX2-55" fmla="*/ 45 w 10050"/>
                <a:gd name="connsiteY2-56" fmla="*/ 0 h 10000"/>
                <a:gd name="connsiteX3-57" fmla="*/ 46 w 10050"/>
                <a:gd name="connsiteY3-58" fmla="*/ 10000 h 10000"/>
                <a:gd name="connsiteX4-59" fmla="*/ 10050 w 10050"/>
                <a:gd name="connsiteY4-60" fmla="*/ 10000 h 10000"/>
                <a:gd name="connsiteX0-61" fmla="*/ 10050 w 10050"/>
                <a:gd name="connsiteY0-62" fmla="*/ 10000 h 10000"/>
                <a:gd name="connsiteX1-63" fmla="*/ 5028 w 10050"/>
                <a:gd name="connsiteY1-64" fmla="*/ 0 h 10000"/>
                <a:gd name="connsiteX2-65" fmla="*/ 45 w 10050"/>
                <a:gd name="connsiteY2-66" fmla="*/ 0 h 10000"/>
                <a:gd name="connsiteX3-67" fmla="*/ 46 w 10050"/>
                <a:gd name="connsiteY3-68" fmla="*/ 10000 h 10000"/>
                <a:gd name="connsiteX4-69" fmla="*/ 10050 w 10050"/>
                <a:gd name="connsiteY4-70" fmla="*/ 10000 h 10000"/>
                <a:gd name="connsiteX0-71" fmla="*/ 10061 w 10061"/>
                <a:gd name="connsiteY0-72" fmla="*/ 10000 h 10000"/>
                <a:gd name="connsiteX1-73" fmla="*/ 5039 w 10061"/>
                <a:gd name="connsiteY1-74" fmla="*/ 0 h 10000"/>
                <a:gd name="connsiteX2-75" fmla="*/ 56 w 10061"/>
                <a:gd name="connsiteY2-76" fmla="*/ 0 h 10000"/>
                <a:gd name="connsiteX3-77" fmla="*/ 57 w 10061"/>
                <a:gd name="connsiteY3-78" fmla="*/ 10000 h 10000"/>
                <a:gd name="connsiteX4-79" fmla="*/ 10061 w 10061"/>
                <a:gd name="connsiteY4-80" fmla="*/ 10000 h 10000"/>
                <a:gd name="connsiteX0-81" fmla="*/ 10542 w 10542"/>
                <a:gd name="connsiteY0-82" fmla="*/ 10000 h 10000"/>
                <a:gd name="connsiteX1-83" fmla="*/ 5520 w 10542"/>
                <a:gd name="connsiteY1-84" fmla="*/ 0 h 10000"/>
                <a:gd name="connsiteX2-85" fmla="*/ 537 w 10542"/>
                <a:gd name="connsiteY2-86" fmla="*/ 0 h 10000"/>
                <a:gd name="connsiteX3-87" fmla="*/ 538 w 10542"/>
                <a:gd name="connsiteY3-88" fmla="*/ 10000 h 10000"/>
                <a:gd name="connsiteX4-89" fmla="*/ 10542 w 10542"/>
                <a:gd name="connsiteY4-90" fmla="*/ 10000 h 10000"/>
                <a:gd name="connsiteX0-91" fmla="*/ 10024 w 10024"/>
                <a:gd name="connsiteY0-92" fmla="*/ 10000 h 10000"/>
                <a:gd name="connsiteX1-93" fmla="*/ 5002 w 10024"/>
                <a:gd name="connsiteY1-94" fmla="*/ 0 h 10000"/>
                <a:gd name="connsiteX2-95" fmla="*/ 19 w 10024"/>
                <a:gd name="connsiteY2-96" fmla="*/ 0 h 10000"/>
                <a:gd name="connsiteX3-97" fmla="*/ 20 w 10024"/>
                <a:gd name="connsiteY3-98" fmla="*/ 10000 h 10000"/>
                <a:gd name="connsiteX4-99" fmla="*/ 10024 w 10024"/>
                <a:gd name="connsiteY4-100" fmla="*/ 10000 h 10000"/>
                <a:gd name="connsiteX0-101" fmla="*/ 10024 w 10024"/>
                <a:gd name="connsiteY0-102" fmla="*/ 10000 h 10000"/>
                <a:gd name="connsiteX1-103" fmla="*/ 5002 w 10024"/>
                <a:gd name="connsiteY1-104" fmla="*/ 0 h 10000"/>
                <a:gd name="connsiteX2-105" fmla="*/ 19 w 10024"/>
                <a:gd name="connsiteY2-106" fmla="*/ 0 h 10000"/>
                <a:gd name="connsiteX3-107" fmla="*/ 20 w 10024"/>
                <a:gd name="connsiteY3-108" fmla="*/ 10000 h 10000"/>
                <a:gd name="connsiteX4-109" fmla="*/ 10024 w 10024"/>
                <a:gd name="connsiteY4-110" fmla="*/ 10000 h 10000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0024" h="10000">
                  <a:moveTo>
                    <a:pt x="10024" y="10000"/>
                  </a:moveTo>
                  <a:lnTo>
                    <a:pt x="5002" y="0"/>
                  </a:lnTo>
                  <a:lnTo>
                    <a:pt x="19" y="0"/>
                  </a:lnTo>
                  <a:cubicBezTo>
                    <a:pt x="6" y="2458"/>
                    <a:pt x="0" y="8056"/>
                    <a:pt x="20" y="10000"/>
                  </a:cubicBezTo>
                  <a:lnTo>
                    <a:pt x="10024" y="100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srgbClr val="414042"/>
                </a:solidFill>
              </a:endParaRPr>
            </a:p>
          </p:txBody>
        </p:sp>
        <p:sp>
          <p:nvSpPr>
            <p:cNvPr id="1031" name="Freeform 7"/>
            <p:cNvSpPr/>
            <p:nvPr userDrawn="1"/>
          </p:nvSpPr>
          <p:spPr bwMode="auto">
            <a:xfrm>
              <a:off x="7419975" y="0"/>
              <a:ext cx="1724025" cy="1489075"/>
            </a:xfrm>
            <a:custGeom>
              <a:avLst/>
              <a:gdLst/>
              <a:ahLst/>
              <a:cxnLst>
                <a:cxn ang="0">
                  <a:pos x="1086" y="368"/>
                </a:cxn>
                <a:cxn ang="0">
                  <a:pos x="628" y="0"/>
                </a:cxn>
                <a:cxn ang="0">
                  <a:pos x="0" y="0"/>
                </a:cxn>
                <a:cxn ang="0">
                  <a:pos x="1086" y="938"/>
                </a:cxn>
                <a:cxn ang="0">
                  <a:pos x="1086" y="368"/>
                </a:cxn>
              </a:cxnLst>
              <a:rect l="0" t="0" r="r" b="b"/>
              <a:pathLst>
                <a:path w="1086" h="938">
                  <a:moveTo>
                    <a:pt x="1086" y="368"/>
                  </a:moveTo>
                  <a:lnTo>
                    <a:pt x="628" y="0"/>
                  </a:lnTo>
                  <a:lnTo>
                    <a:pt x="0" y="0"/>
                  </a:lnTo>
                  <a:lnTo>
                    <a:pt x="1086" y="938"/>
                  </a:lnTo>
                  <a:lnTo>
                    <a:pt x="1086" y="368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srgbClr val="414042"/>
                </a:solidFill>
              </a:endParaRPr>
            </a:p>
          </p:txBody>
        </p:sp>
        <p:sp>
          <p:nvSpPr>
            <p:cNvPr id="1032" name="Freeform 8"/>
            <p:cNvSpPr/>
            <p:nvPr userDrawn="1"/>
          </p:nvSpPr>
          <p:spPr bwMode="auto">
            <a:xfrm>
              <a:off x="4441825" y="0"/>
              <a:ext cx="4702175" cy="5143500"/>
            </a:xfrm>
            <a:custGeom>
              <a:avLst/>
              <a:gdLst/>
              <a:ahLst/>
              <a:cxnLst>
                <a:cxn ang="0">
                  <a:pos x="2962" y="3240"/>
                </a:cxn>
                <a:cxn ang="0">
                  <a:pos x="2962" y="938"/>
                </a:cxn>
                <a:cxn ang="0">
                  <a:pos x="1876" y="0"/>
                </a:cxn>
                <a:cxn ang="0">
                  <a:pos x="0" y="0"/>
                </a:cxn>
                <a:cxn ang="0">
                  <a:pos x="2817" y="3240"/>
                </a:cxn>
                <a:cxn ang="0">
                  <a:pos x="2962" y="3240"/>
                </a:cxn>
              </a:cxnLst>
              <a:rect l="0" t="0" r="r" b="b"/>
              <a:pathLst>
                <a:path w="2962" h="3240">
                  <a:moveTo>
                    <a:pt x="2962" y="3240"/>
                  </a:moveTo>
                  <a:lnTo>
                    <a:pt x="2962" y="938"/>
                  </a:lnTo>
                  <a:lnTo>
                    <a:pt x="1876" y="0"/>
                  </a:lnTo>
                  <a:lnTo>
                    <a:pt x="0" y="0"/>
                  </a:lnTo>
                  <a:lnTo>
                    <a:pt x="2817" y="3240"/>
                  </a:lnTo>
                  <a:lnTo>
                    <a:pt x="2962" y="324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srgbClr val="414042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126" y="1133318"/>
            <a:ext cx="5911850" cy="1052994"/>
          </a:xfrm>
        </p:spPr>
        <p:txBody>
          <a:bodyPr anchor="b" anchorCtr="0"/>
          <a:lstStyle>
            <a:lvl1pPr>
              <a:defRPr sz="3600" i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126" y="2351676"/>
            <a:ext cx="6159500" cy="131445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BBBDBF"/>
                </a:solidFill>
              </a:rPr>
              <a:t>Presentation Title</a:t>
            </a:r>
            <a:endParaRPr lang="en-US" dirty="0">
              <a:solidFill>
                <a:srgbClr val="BBBDB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460F7E-BF8E-4752-A3EA-71DCEBC1B1D4}" type="slidenum">
              <a:rPr lang="en-US" smtClean="0">
                <a:solidFill>
                  <a:srgbClr val="83B81A"/>
                </a:solidFill>
              </a:rPr>
            </a:fld>
            <a:endParaRPr lang="en-US" dirty="0">
              <a:solidFill>
                <a:srgbClr val="83B81A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365125" y="1133318"/>
            <a:ext cx="8412163" cy="1052994"/>
          </a:xfrm>
        </p:spPr>
        <p:txBody>
          <a:bodyPr anchor="b" anchorCtr="0"/>
          <a:lstStyle>
            <a:lvl1pPr>
              <a:defRPr sz="3600" i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65125" y="2351676"/>
            <a:ext cx="8412163" cy="131445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BBBDBF"/>
                </a:solidFill>
              </a:rPr>
              <a:t>Presentation Title</a:t>
            </a:r>
            <a:endParaRPr lang="en-US">
              <a:solidFill>
                <a:srgbClr val="BBBDB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60F7E-BF8E-4752-A3EA-71DCEBC1B1D4}" type="slidenum">
              <a:rPr lang="en-US" smtClean="0">
                <a:solidFill>
                  <a:srgbClr val="83B81A"/>
                </a:solidFill>
              </a:rPr>
            </a:fld>
            <a:endParaRPr lang="en-US">
              <a:solidFill>
                <a:srgbClr val="83B81A"/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BBBDBF"/>
                </a:solidFill>
              </a:rPr>
              <a:t>Presentation Title</a:t>
            </a:r>
            <a:endParaRPr lang="en-US">
              <a:solidFill>
                <a:srgbClr val="BBBDB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60F7E-BF8E-4752-A3EA-71DCEBC1B1D4}" type="slidenum">
              <a:rPr lang="en-US" smtClean="0">
                <a:solidFill>
                  <a:srgbClr val="83B81A"/>
                </a:solidFill>
              </a:rPr>
            </a:fld>
            <a:endParaRPr lang="en-US">
              <a:solidFill>
                <a:srgbClr val="83B81A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Dens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9" y="669925"/>
            <a:ext cx="7680325" cy="533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65126" y="1333501"/>
            <a:ext cx="3657600" cy="32654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  <a:endParaRPr lang="en-US" dirty="0" smtClean="0"/>
          </a:p>
          <a:p>
            <a:pPr lvl="2"/>
            <a:r>
              <a:rPr lang="en-US" dirty="0" smtClean="0"/>
              <a:t>Third level</a:t>
            </a:r>
            <a:endParaRPr lang="en-US" dirty="0" smtClean="0"/>
          </a:p>
          <a:p>
            <a:pPr lvl="3"/>
            <a:r>
              <a:rPr lang="en-US" dirty="0" smtClean="0"/>
              <a:t>Fourth level</a:t>
            </a:r>
            <a:endParaRPr lang="en-US" dirty="0" smtClean="0"/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>
                <a:solidFill>
                  <a:srgbClr val="BBBDBF"/>
                </a:solidFill>
              </a:rPr>
              <a:t>Presentation Title</a:t>
            </a:r>
            <a:endParaRPr lang="en-US" dirty="0">
              <a:solidFill>
                <a:srgbClr val="BBBDBF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8"/>
          </p:nvPr>
        </p:nvSpPr>
        <p:spPr>
          <a:xfrm>
            <a:off x="4384679" y="1333500"/>
            <a:ext cx="3660775" cy="32654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220157"/>
            <a:ext cx="4086225" cy="112155"/>
          </a:xfrm>
          <a:prstGeom prst="rect">
            <a:avLst/>
          </a:prstGeom>
        </p:spPr>
        <p:txBody>
          <a:bodyPr/>
          <a:lstStyle>
            <a:lvl1pPr marL="290830" indent="-290830">
              <a:defRPr sz="900" cap="all" baseline="0">
                <a:solidFill>
                  <a:schemeClr val="tx1"/>
                </a:solidFill>
                <a:latin typeface="Acer Foco" panose="020B0604050202020203" pitchFamily="34" charset="0"/>
              </a:defRPr>
            </a:lvl1pPr>
          </a:lstStyle>
          <a:p>
            <a:pPr lvl="0"/>
            <a:r>
              <a:rPr lang="en-US" dirty="0" err="1" smtClean="0"/>
              <a:t>x.x</a:t>
            </a:r>
            <a:r>
              <a:rPr lang="en-US" dirty="0" smtClean="0"/>
              <a:t>.	Section number and tit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smtClean="0">
                <a:solidFill>
                  <a:srgbClr val="414042"/>
                </a:solidFill>
              </a:rPr>
              <a:t>|       </a:t>
            </a:r>
            <a:fld id="{DC460F7E-BF8E-4752-A3EA-71DCEBC1B1D4}" type="slidenum">
              <a:rPr lang="en-US" smtClean="0">
                <a:solidFill>
                  <a:srgbClr val="414042"/>
                </a:solidFill>
              </a:rPr>
            </a:fld>
            <a:endParaRPr lang="en-US" dirty="0">
              <a:solidFill>
                <a:srgbClr val="414042"/>
              </a:solidFill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365125" y="428625"/>
            <a:ext cx="3657600" cy="228600"/>
          </a:xfrm>
        </p:spPr>
        <p:txBody>
          <a:bodyPr anchor="b" anchorCtr="0"/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 smtClean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 userDrawn="1"/>
        </p:nvGrpSpPr>
        <p:grpSpPr>
          <a:xfrm>
            <a:off x="0" y="1493838"/>
            <a:ext cx="9144000" cy="3649663"/>
            <a:chOff x="0" y="1493838"/>
            <a:chExt cx="9144000" cy="3649663"/>
          </a:xfrm>
        </p:grpSpPr>
        <p:sp>
          <p:nvSpPr>
            <p:cNvPr id="16" name="Freeform 6"/>
            <p:cNvSpPr/>
            <p:nvPr userDrawn="1"/>
          </p:nvSpPr>
          <p:spPr bwMode="auto">
            <a:xfrm>
              <a:off x="2968625" y="1587500"/>
              <a:ext cx="6175375" cy="3556000"/>
            </a:xfrm>
            <a:custGeom>
              <a:avLst/>
              <a:gdLst/>
              <a:ahLst/>
              <a:cxnLst>
                <a:cxn ang="0">
                  <a:pos x="3890" y="0"/>
                </a:cxn>
                <a:cxn ang="0">
                  <a:pos x="0" y="2240"/>
                </a:cxn>
                <a:cxn ang="0">
                  <a:pos x="2806" y="2240"/>
                </a:cxn>
                <a:cxn ang="0">
                  <a:pos x="3890" y="428"/>
                </a:cxn>
                <a:cxn ang="0">
                  <a:pos x="3890" y="0"/>
                </a:cxn>
              </a:cxnLst>
              <a:rect l="0" t="0" r="r" b="b"/>
              <a:pathLst>
                <a:path w="3890" h="2240">
                  <a:moveTo>
                    <a:pt x="3890" y="0"/>
                  </a:moveTo>
                  <a:lnTo>
                    <a:pt x="0" y="2240"/>
                  </a:lnTo>
                  <a:lnTo>
                    <a:pt x="2806" y="2240"/>
                  </a:lnTo>
                  <a:lnTo>
                    <a:pt x="3890" y="428"/>
                  </a:lnTo>
                  <a:lnTo>
                    <a:pt x="389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srgbClr val="414042"/>
                </a:solidFill>
              </a:endParaRPr>
            </a:p>
          </p:txBody>
        </p:sp>
        <p:sp>
          <p:nvSpPr>
            <p:cNvPr id="17" name="Freeform 7"/>
            <p:cNvSpPr/>
            <p:nvPr userDrawn="1"/>
          </p:nvSpPr>
          <p:spPr bwMode="auto">
            <a:xfrm>
              <a:off x="0" y="1493838"/>
              <a:ext cx="9144000" cy="3649663"/>
            </a:xfrm>
            <a:custGeom>
              <a:avLst/>
              <a:gdLst/>
              <a:ahLst/>
              <a:cxnLst>
                <a:cxn ang="0">
                  <a:pos x="5760" y="0"/>
                </a:cxn>
                <a:cxn ang="0">
                  <a:pos x="5743" y="0"/>
                </a:cxn>
                <a:cxn ang="0">
                  <a:pos x="0" y="2299"/>
                </a:cxn>
                <a:cxn ang="0">
                  <a:pos x="466" y="2299"/>
                </a:cxn>
                <a:cxn ang="0">
                  <a:pos x="5760" y="4"/>
                </a:cxn>
                <a:cxn ang="0">
                  <a:pos x="5760" y="0"/>
                </a:cxn>
              </a:cxnLst>
              <a:rect l="0" t="0" r="r" b="b"/>
              <a:pathLst>
                <a:path w="5760" h="2299">
                  <a:moveTo>
                    <a:pt x="5760" y="0"/>
                  </a:moveTo>
                  <a:lnTo>
                    <a:pt x="5743" y="0"/>
                  </a:lnTo>
                  <a:lnTo>
                    <a:pt x="0" y="2299"/>
                  </a:lnTo>
                  <a:lnTo>
                    <a:pt x="466" y="2299"/>
                  </a:lnTo>
                  <a:lnTo>
                    <a:pt x="5760" y="4"/>
                  </a:lnTo>
                  <a:lnTo>
                    <a:pt x="576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srgbClr val="414042"/>
                </a:solidFill>
              </a:endParaRPr>
            </a:p>
          </p:txBody>
        </p:sp>
        <p:sp>
          <p:nvSpPr>
            <p:cNvPr id="18" name="Freeform 8"/>
            <p:cNvSpPr/>
            <p:nvPr userDrawn="1"/>
          </p:nvSpPr>
          <p:spPr bwMode="auto">
            <a:xfrm>
              <a:off x="739775" y="1500188"/>
              <a:ext cx="8404225" cy="3643313"/>
            </a:xfrm>
            <a:custGeom>
              <a:avLst/>
              <a:gdLst/>
              <a:ahLst/>
              <a:cxnLst>
                <a:cxn ang="0">
                  <a:pos x="5294" y="0"/>
                </a:cxn>
                <a:cxn ang="0">
                  <a:pos x="0" y="2295"/>
                </a:cxn>
                <a:cxn ang="0">
                  <a:pos x="1404" y="2295"/>
                </a:cxn>
                <a:cxn ang="0">
                  <a:pos x="5294" y="55"/>
                </a:cxn>
                <a:cxn ang="0">
                  <a:pos x="5294" y="0"/>
                </a:cxn>
              </a:cxnLst>
              <a:rect l="0" t="0" r="r" b="b"/>
              <a:pathLst>
                <a:path w="5294" h="2295">
                  <a:moveTo>
                    <a:pt x="5294" y="0"/>
                  </a:moveTo>
                  <a:lnTo>
                    <a:pt x="0" y="2295"/>
                  </a:lnTo>
                  <a:lnTo>
                    <a:pt x="1404" y="2295"/>
                  </a:lnTo>
                  <a:lnTo>
                    <a:pt x="5294" y="55"/>
                  </a:lnTo>
                  <a:lnTo>
                    <a:pt x="5294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srgbClr val="414042"/>
                </a:solidFill>
              </a:endParaRPr>
            </a:p>
          </p:txBody>
        </p:sp>
      </p:grpSp>
      <p:pic>
        <p:nvPicPr>
          <p:cNvPr id="102" name="Picture 49" descr="C:\Users\Peter\Desktop\ACER_template_070512\ART\acer_tag_rg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25" y="600934"/>
            <a:ext cx="1505118" cy="508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 userDrawn="1"/>
        </p:nvSpPr>
        <p:spPr>
          <a:xfrm>
            <a:off x="365125" y="1655682"/>
            <a:ext cx="2028761" cy="498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3600" dirty="0" smtClean="0">
                <a:solidFill>
                  <a:srgbClr val="83B81A"/>
                </a:solidFill>
                <a:latin typeface="Acer Foco Semibold"/>
              </a:rPr>
              <a:t>Thank You</a:t>
            </a:r>
            <a:endParaRPr lang="en-US" sz="3600" dirty="0">
              <a:solidFill>
                <a:srgbClr val="83B81A"/>
              </a:solidFill>
              <a:latin typeface="Acer Foco Semibold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\\.psf\Home\Desktop\AcerPlaybookfooter.png"/>
          <p:cNvPicPr>
            <a:picLocks noChangeAspect="1" noChangeArrowheads="1"/>
          </p:cNvPicPr>
          <p:nvPr userDrawn="1"/>
        </p:nvPicPr>
        <p:blipFill>
          <a:blip r:embed="rId2" cstate="print"/>
          <a:srcRect r="475" b="3313"/>
          <a:stretch>
            <a:fillRect/>
          </a:stretch>
        </p:blipFill>
        <p:spPr bwMode="auto">
          <a:xfrm>
            <a:off x="4635500" y="4672013"/>
            <a:ext cx="4508500" cy="471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9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365125" y="327025"/>
            <a:ext cx="1463675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365125" y="4261104"/>
            <a:ext cx="3657600" cy="366039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altLang="zh-TW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0"/>
          </p:nvPr>
        </p:nvSpPr>
        <p:spPr>
          <a:xfrm>
            <a:off x="365125" y="4651375"/>
            <a:ext cx="3657600" cy="136525"/>
          </a:xfrm>
        </p:spPr>
        <p:txBody>
          <a:bodyPr/>
          <a:lstStyle>
            <a:lvl1pPr algn="l">
              <a:defRPr sz="900" cap="all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5E6A71"/>
                </a:solidFill>
              </a:rPr>
              <a:t>Presentation Title</a:t>
            </a:r>
            <a:endParaRPr lang="en-US" dirty="0">
              <a:solidFill>
                <a:srgbClr val="5E6A71"/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ars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5" y="1174623"/>
            <a:ext cx="3657600" cy="53035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65126" y="1830388"/>
            <a:ext cx="3657600" cy="2768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  <a:endParaRPr lang="en-US" dirty="0" smtClean="0"/>
          </a:p>
          <a:p>
            <a:pPr lvl="2"/>
            <a:r>
              <a:rPr lang="en-US" dirty="0" smtClean="0"/>
              <a:t>Third level</a:t>
            </a:r>
            <a:endParaRPr lang="en-US" dirty="0" smtClean="0"/>
          </a:p>
          <a:p>
            <a:pPr lvl="3"/>
            <a:r>
              <a:rPr lang="en-US" dirty="0" smtClean="0"/>
              <a:t>Fourth level</a:t>
            </a:r>
            <a:endParaRPr lang="en-US" dirty="0" smtClean="0"/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>
                <a:solidFill>
                  <a:srgbClr val="BBBDBF"/>
                </a:solidFill>
              </a:rPr>
              <a:t>Presentation Title</a:t>
            </a:r>
            <a:endParaRPr lang="en-US" dirty="0">
              <a:solidFill>
                <a:srgbClr val="BBBDBF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8"/>
          </p:nvPr>
        </p:nvSpPr>
        <p:spPr>
          <a:xfrm>
            <a:off x="4384679" y="1830388"/>
            <a:ext cx="3660775" cy="27686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  <a:endParaRPr lang="en-US" dirty="0" smtClean="0"/>
          </a:p>
          <a:p>
            <a:pPr lvl="2"/>
            <a:r>
              <a:rPr lang="en-US" dirty="0" smtClean="0"/>
              <a:t>Third level</a:t>
            </a:r>
            <a:endParaRPr lang="en-US" dirty="0" smtClean="0"/>
          </a:p>
          <a:p>
            <a:pPr lvl="3"/>
            <a:r>
              <a:rPr lang="en-US" dirty="0" smtClean="0"/>
              <a:t>Fourth level</a:t>
            </a:r>
            <a:endParaRPr lang="en-US" dirty="0" smtClean="0"/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220157"/>
            <a:ext cx="4086225" cy="112155"/>
          </a:xfrm>
          <a:prstGeom prst="rect">
            <a:avLst/>
          </a:prstGeom>
        </p:spPr>
        <p:txBody>
          <a:bodyPr/>
          <a:lstStyle>
            <a:lvl1pPr marL="290830" indent="-290830">
              <a:defRPr sz="900" cap="all" baseline="0">
                <a:solidFill>
                  <a:schemeClr val="tx1"/>
                </a:solidFill>
                <a:latin typeface="Acer Foco" panose="020B0604050202020203" pitchFamily="34" charset="0"/>
              </a:defRPr>
            </a:lvl1pPr>
          </a:lstStyle>
          <a:p>
            <a:pPr lvl="0"/>
            <a:r>
              <a:rPr lang="en-US" dirty="0" err="1" smtClean="0"/>
              <a:t>x.x</a:t>
            </a:r>
            <a:r>
              <a:rPr lang="en-US" dirty="0" smtClean="0"/>
              <a:t>.	Section number and tit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smtClean="0">
                <a:solidFill>
                  <a:srgbClr val="414042"/>
                </a:solidFill>
              </a:rPr>
              <a:t>|       </a:t>
            </a:r>
            <a:fld id="{DC460F7E-BF8E-4752-A3EA-71DCEBC1B1D4}" type="slidenum">
              <a:rPr lang="en-US" smtClean="0">
                <a:solidFill>
                  <a:srgbClr val="414042"/>
                </a:solidFill>
              </a:rPr>
            </a:fld>
            <a:endParaRPr lang="en-US" dirty="0">
              <a:solidFill>
                <a:srgbClr val="414042"/>
              </a:solidFill>
            </a:endParaRP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365125" y="927100"/>
            <a:ext cx="3657600" cy="228600"/>
          </a:xfrm>
        </p:spPr>
        <p:txBody>
          <a:bodyPr anchor="b" anchorCtr="0"/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 smtClean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6" y="669925"/>
            <a:ext cx="7679531" cy="53035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BBBDBF"/>
                </a:solidFill>
              </a:rPr>
              <a:t>Presentation Title</a:t>
            </a:r>
            <a:endParaRPr lang="en-US">
              <a:solidFill>
                <a:srgbClr val="BBBDBF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220157"/>
            <a:ext cx="4086225" cy="112155"/>
          </a:xfrm>
          <a:prstGeom prst="rect">
            <a:avLst/>
          </a:prstGeom>
        </p:spPr>
        <p:txBody>
          <a:bodyPr/>
          <a:lstStyle>
            <a:lvl1pPr marL="290830" indent="-290830">
              <a:defRPr sz="900" cap="all" baseline="0">
                <a:solidFill>
                  <a:schemeClr val="tx1"/>
                </a:solidFill>
                <a:latin typeface="Acer Foco" panose="020B0604050202020203" pitchFamily="34" charset="0"/>
              </a:defRPr>
            </a:lvl1pPr>
          </a:lstStyle>
          <a:p>
            <a:pPr lvl="0"/>
            <a:r>
              <a:rPr lang="en-US" dirty="0" err="1" smtClean="0"/>
              <a:t>x.x</a:t>
            </a:r>
            <a:r>
              <a:rPr lang="en-US" dirty="0" smtClean="0"/>
              <a:t>.	Section number and tit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smtClean="0">
                <a:solidFill>
                  <a:srgbClr val="414042"/>
                </a:solidFill>
              </a:rPr>
              <a:t>|       </a:t>
            </a:r>
            <a:fld id="{DC460F7E-BF8E-4752-A3EA-71DCEBC1B1D4}" type="slidenum">
              <a:rPr lang="en-US" smtClean="0">
                <a:solidFill>
                  <a:srgbClr val="414042"/>
                </a:solidFill>
              </a:rPr>
            </a:fld>
            <a:endParaRPr lang="en-US" dirty="0">
              <a:solidFill>
                <a:srgbClr val="414042"/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BBBDBF"/>
                </a:solidFill>
              </a:rPr>
              <a:t>Presentation Title</a:t>
            </a:r>
            <a:endParaRPr lang="en-US">
              <a:solidFill>
                <a:srgbClr val="BBBDBF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220157"/>
            <a:ext cx="4086225" cy="112155"/>
          </a:xfrm>
          <a:prstGeom prst="rect">
            <a:avLst/>
          </a:prstGeom>
        </p:spPr>
        <p:txBody>
          <a:bodyPr/>
          <a:lstStyle>
            <a:lvl1pPr marL="290830" indent="-290830">
              <a:defRPr sz="900" cap="all" baseline="0">
                <a:solidFill>
                  <a:schemeClr val="tx1"/>
                </a:solidFill>
                <a:latin typeface="Acer Foco" panose="020B0604050202020203" pitchFamily="34" charset="0"/>
              </a:defRPr>
            </a:lvl1pPr>
          </a:lstStyle>
          <a:p>
            <a:pPr lvl="0"/>
            <a:r>
              <a:rPr lang="en-US" dirty="0" err="1" smtClean="0"/>
              <a:t>x.x</a:t>
            </a:r>
            <a:r>
              <a:rPr lang="en-US" dirty="0" smtClean="0"/>
              <a:t>.	Section number and tit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smtClean="0">
                <a:solidFill>
                  <a:srgbClr val="414042"/>
                </a:solidFill>
              </a:rPr>
              <a:t>|       </a:t>
            </a:r>
            <a:fld id="{DC460F7E-BF8E-4752-A3EA-71DCEBC1B1D4}" type="slidenum">
              <a:rPr lang="en-US" smtClean="0">
                <a:solidFill>
                  <a:srgbClr val="414042"/>
                </a:solidFill>
              </a:rPr>
            </a:fld>
            <a:endParaRPr lang="en-US" dirty="0">
              <a:solidFill>
                <a:srgbClr val="41404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Title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67905" y="923925"/>
            <a:ext cx="3657600" cy="367506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  <a:endParaRPr lang="en-US" dirty="0" smtClean="0"/>
          </a:p>
          <a:p>
            <a:pPr lvl="2"/>
            <a:r>
              <a:rPr lang="en-US" dirty="0" smtClean="0"/>
              <a:t>Third level</a:t>
            </a:r>
            <a:endParaRPr lang="en-US" dirty="0" smtClean="0"/>
          </a:p>
          <a:p>
            <a:pPr lvl="3"/>
            <a:r>
              <a:rPr lang="en-US" dirty="0" smtClean="0"/>
              <a:t>Fourth level</a:t>
            </a:r>
            <a:endParaRPr lang="en-US" dirty="0" smtClean="0"/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>
                <a:solidFill>
                  <a:srgbClr val="BBBDBF"/>
                </a:solidFill>
              </a:rPr>
              <a:t>Presentation Title</a:t>
            </a:r>
            <a:endParaRPr lang="en-US" dirty="0">
              <a:solidFill>
                <a:srgbClr val="BBBDBF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8"/>
          </p:nvPr>
        </p:nvSpPr>
        <p:spPr>
          <a:xfrm>
            <a:off x="4387458" y="923926"/>
            <a:ext cx="3660775" cy="3675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220157"/>
            <a:ext cx="4086225" cy="112155"/>
          </a:xfrm>
          <a:prstGeom prst="rect">
            <a:avLst/>
          </a:prstGeom>
        </p:spPr>
        <p:txBody>
          <a:bodyPr/>
          <a:lstStyle>
            <a:lvl1pPr marL="290830" indent="-290830">
              <a:defRPr sz="900" cap="all" baseline="0">
                <a:solidFill>
                  <a:schemeClr val="tx1"/>
                </a:solidFill>
                <a:latin typeface="Acer Foco" panose="020B0604050202020203" pitchFamily="34" charset="0"/>
              </a:defRPr>
            </a:lvl1pPr>
          </a:lstStyle>
          <a:p>
            <a:pPr lvl="0"/>
            <a:r>
              <a:rPr lang="en-US" dirty="0" err="1" smtClean="0"/>
              <a:t>x.x</a:t>
            </a:r>
            <a:r>
              <a:rPr lang="en-US" dirty="0" smtClean="0"/>
              <a:t>.	Section number and tit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smtClean="0">
                <a:solidFill>
                  <a:srgbClr val="414042"/>
                </a:solidFill>
              </a:rPr>
              <a:t>|       </a:t>
            </a:r>
            <a:fld id="{DC460F7E-BF8E-4752-A3EA-71DCEBC1B1D4}" type="slidenum">
              <a:rPr lang="en-US" smtClean="0">
                <a:solidFill>
                  <a:srgbClr val="414042"/>
                </a:solidFill>
              </a:rPr>
            </a:fld>
            <a:endParaRPr lang="en-US" dirty="0">
              <a:solidFill>
                <a:srgbClr val="414042"/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125" y="4261105"/>
            <a:ext cx="3657600" cy="50780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>
                <a:solidFill>
                  <a:schemeClr val="tx2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9" name="Picture 49"/>
          <p:cNvPicPr>
            <a:picLocks noChangeAspect="1" noChangeArrowheads="1"/>
          </p:cNvPicPr>
          <p:nvPr userDrawn="1"/>
        </p:nvPicPr>
        <p:blipFill>
          <a:blip r:embed="rId2" cstate="screen"/>
          <a:stretch>
            <a:fillRect/>
          </a:stretch>
        </p:blipFill>
        <p:spPr bwMode="auto">
          <a:xfrm>
            <a:off x="365125" y="327025"/>
            <a:ext cx="1463764" cy="493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>
          <a:xfrm>
            <a:off x="365126" y="4650740"/>
            <a:ext cx="3657600" cy="137160"/>
          </a:xfrm>
        </p:spPr>
        <p:txBody>
          <a:bodyPr/>
          <a:lstStyle>
            <a:lvl1pPr>
              <a:defRPr sz="900" cap="all" baseline="0">
                <a:solidFill>
                  <a:schemeClr val="tx2"/>
                </a:solidFill>
              </a:defRPr>
            </a:lvl1pPr>
          </a:lstStyle>
          <a:p>
            <a:pPr algn="l"/>
            <a:r>
              <a:rPr lang="en-US" smtClean="0">
                <a:solidFill>
                  <a:srgbClr val="5E6A71"/>
                </a:solidFill>
              </a:rPr>
              <a:t>Presentation Title</a:t>
            </a:r>
            <a:endParaRPr lang="en-US" dirty="0">
              <a:solidFill>
                <a:srgbClr val="5E6A71"/>
              </a:solidFill>
            </a:endParaRPr>
          </a:p>
        </p:txBody>
      </p:sp>
      <p:pic>
        <p:nvPicPr>
          <p:cNvPr id="12" name="Picture 4" descr="\\.psf\Home\Desktop\AcerPlaybookfooter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alphaModFix amt="30000"/>
          </a:blip>
          <a:srcRect r="475" b="3313"/>
          <a:stretch>
            <a:fillRect/>
          </a:stretch>
        </p:blipFill>
        <p:spPr bwMode="auto">
          <a:xfrm>
            <a:off x="4636039" y="4672429"/>
            <a:ext cx="4507992" cy="470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20130916_ACER_80584_GRAY.jpg"/>
          <p:cNvPicPr>
            <a:picLocks noChangeAspect="1"/>
          </p:cNvPicPr>
          <p:nvPr userDrawn="1"/>
        </p:nvPicPr>
        <p:blipFill rotWithShape="1">
          <a:blip r:embed="rId4" cstate="print"/>
          <a:srcRect/>
          <a:stretch>
            <a:fillRect/>
          </a:stretch>
        </p:blipFill>
        <p:spPr>
          <a:xfrm>
            <a:off x="4754880" y="-6"/>
            <a:ext cx="4398264" cy="5148072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4647823" y="4666872"/>
            <a:ext cx="450532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8072"/>
          </a:xfrm>
          <a:solidFill>
            <a:schemeClr val="tx2">
              <a:lumMod val="40000"/>
              <a:lumOff val="6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698" y="2152652"/>
            <a:ext cx="8014891" cy="409575"/>
          </a:xfrm>
          <a:noFill/>
        </p:spPr>
        <p:txBody>
          <a:bodyPr bIns="0"/>
          <a:lstStyle>
            <a:lvl1pPr>
              <a:defRPr sz="2100" cap="all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 userDrawn="1"/>
        </p:nvGrpSpPr>
        <p:grpSpPr>
          <a:xfrm>
            <a:off x="0" y="1493840"/>
            <a:ext cx="9144000" cy="3649663"/>
            <a:chOff x="0" y="1493838"/>
            <a:chExt cx="9144000" cy="3649663"/>
          </a:xfrm>
        </p:grpSpPr>
        <p:sp>
          <p:nvSpPr>
            <p:cNvPr id="16" name="Freeform 6"/>
            <p:cNvSpPr/>
            <p:nvPr userDrawn="1"/>
          </p:nvSpPr>
          <p:spPr bwMode="auto">
            <a:xfrm>
              <a:off x="2968625" y="1587500"/>
              <a:ext cx="6175375" cy="3556000"/>
            </a:xfrm>
            <a:custGeom>
              <a:avLst/>
              <a:gdLst/>
              <a:ahLst/>
              <a:cxnLst>
                <a:cxn ang="0">
                  <a:pos x="3890" y="0"/>
                </a:cxn>
                <a:cxn ang="0">
                  <a:pos x="0" y="2240"/>
                </a:cxn>
                <a:cxn ang="0">
                  <a:pos x="2806" y="2240"/>
                </a:cxn>
                <a:cxn ang="0">
                  <a:pos x="3890" y="428"/>
                </a:cxn>
                <a:cxn ang="0">
                  <a:pos x="3890" y="0"/>
                </a:cxn>
              </a:cxnLst>
              <a:rect l="0" t="0" r="r" b="b"/>
              <a:pathLst>
                <a:path w="3890" h="2240">
                  <a:moveTo>
                    <a:pt x="3890" y="0"/>
                  </a:moveTo>
                  <a:lnTo>
                    <a:pt x="0" y="2240"/>
                  </a:lnTo>
                  <a:lnTo>
                    <a:pt x="2806" y="2240"/>
                  </a:lnTo>
                  <a:lnTo>
                    <a:pt x="3890" y="428"/>
                  </a:lnTo>
                  <a:lnTo>
                    <a:pt x="389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srgbClr val="414042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17" name="Freeform 7"/>
            <p:cNvSpPr/>
            <p:nvPr userDrawn="1"/>
          </p:nvSpPr>
          <p:spPr bwMode="auto">
            <a:xfrm>
              <a:off x="0" y="1493838"/>
              <a:ext cx="9144000" cy="3649663"/>
            </a:xfrm>
            <a:custGeom>
              <a:avLst/>
              <a:gdLst/>
              <a:ahLst/>
              <a:cxnLst>
                <a:cxn ang="0">
                  <a:pos x="5760" y="0"/>
                </a:cxn>
                <a:cxn ang="0">
                  <a:pos x="5743" y="0"/>
                </a:cxn>
                <a:cxn ang="0">
                  <a:pos x="0" y="2299"/>
                </a:cxn>
                <a:cxn ang="0">
                  <a:pos x="466" y="2299"/>
                </a:cxn>
                <a:cxn ang="0">
                  <a:pos x="5760" y="4"/>
                </a:cxn>
                <a:cxn ang="0">
                  <a:pos x="5760" y="0"/>
                </a:cxn>
              </a:cxnLst>
              <a:rect l="0" t="0" r="r" b="b"/>
              <a:pathLst>
                <a:path w="5760" h="2299">
                  <a:moveTo>
                    <a:pt x="5760" y="0"/>
                  </a:moveTo>
                  <a:lnTo>
                    <a:pt x="5743" y="0"/>
                  </a:lnTo>
                  <a:lnTo>
                    <a:pt x="0" y="2299"/>
                  </a:lnTo>
                  <a:lnTo>
                    <a:pt x="466" y="2299"/>
                  </a:lnTo>
                  <a:lnTo>
                    <a:pt x="5760" y="4"/>
                  </a:lnTo>
                  <a:lnTo>
                    <a:pt x="576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srgbClr val="414042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18" name="Freeform 8"/>
            <p:cNvSpPr/>
            <p:nvPr userDrawn="1"/>
          </p:nvSpPr>
          <p:spPr bwMode="auto">
            <a:xfrm>
              <a:off x="739775" y="1500188"/>
              <a:ext cx="8404225" cy="3643313"/>
            </a:xfrm>
            <a:custGeom>
              <a:avLst/>
              <a:gdLst/>
              <a:ahLst/>
              <a:cxnLst>
                <a:cxn ang="0">
                  <a:pos x="5294" y="0"/>
                </a:cxn>
                <a:cxn ang="0">
                  <a:pos x="0" y="2295"/>
                </a:cxn>
                <a:cxn ang="0">
                  <a:pos x="1404" y="2295"/>
                </a:cxn>
                <a:cxn ang="0">
                  <a:pos x="5294" y="55"/>
                </a:cxn>
                <a:cxn ang="0">
                  <a:pos x="5294" y="0"/>
                </a:cxn>
              </a:cxnLst>
              <a:rect l="0" t="0" r="r" b="b"/>
              <a:pathLst>
                <a:path w="5294" h="2295">
                  <a:moveTo>
                    <a:pt x="5294" y="0"/>
                  </a:moveTo>
                  <a:lnTo>
                    <a:pt x="0" y="2295"/>
                  </a:lnTo>
                  <a:lnTo>
                    <a:pt x="1404" y="2295"/>
                  </a:lnTo>
                  <a:lnTo>
                    <a:pt x="5294" y="55"/>
                  </a:lnTo>
                  <a:lnTo>
                    <a:pt x="5294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srgbClr val="414042"/>
                </a:solidFill>
                <a:ea typeface="MS PGothic" panose="020B0600070205080204" pitchFamily="34" charset="-128"/>
              </a:endParaRPr>
            </a:p>
          </p:txBody>
        </p:sp>
      </p:grpSp>
      <p:pic>
        <p:nvPicPr>
          <p:cNvPr id="102" name="Picture 49"/>
          <p:cNvPicPr>
            <a:picLocks noChangeAspect="1" noChangeArrowheads="1"/>
          </p:cNvPicPr>
          <p:nvPr userDrawn="1"/>
        </p:nvPicPr>
        <p:blipFill>
          <a:blip r:embed="rId2" cstate="screen"/>
          <a:stretch>
            <a:fillRect/>
          </a:stretch>
        </p:blipFill>
        <p:spPr bwMode="auto">
          <a:xfrm>
            <a:off x="365125" y="601190"/>
            <a:ext cx="1505118" cy="507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 userDrawn="1"/>
        </p:nvSpPr>
        <p:spPr>
          <a:xfrm>
            <a:off x="365127" y="1655682"/>
            <a:ext cx="2045881" cy="498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3600" dirty="0" smtClean="0">
                <a:solidFill>
                  <a:srgbClr val="83B81A"/>
                </a:solidFill>
                <a:latin typeface="Acer Foco Semibold"/>
                <a:ea typeface="MS PGothic" panose="020B0600070205080204" pitchFamily="34" charset="-128"/>
              </a:rPr>
              <a:t>Thank you</a:t>
            </a:r>
            <a:endParaRPr lang="en-US" sz="3600" dirty="0">
              <a:solidFill>
                <a:srgbClr val="83B81A"/>
              </a:solidFill>
              <a:latin typeface="Acer Foco Semibold"/>
              <a:ea typeface="MS PGothic" panose="020B0600070205080204" pitchFamily="34" charset="-128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3" Type="http://schemas.openxmlformats.org/officeDocument/2006/relationships/theme" Target="../theme/theme1.xml"/><Relationship Id="rId12" Type="http://schemas.openxmlformats.org/officeDocument/2006/relationships/image" Target="../media/image2.png"/><Relationship Id="rId11" Type="http://schemas.openxmlformats.org/officeDocument/2006/relationships/image" Target="../media/image7.png"/><Relationship Id="rId10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4" Type="http://schemas.openxmlformats.org/officeDocument/2006/relationships/theme" Target="../theme/theme2.xml"/><Relationship Id="rId13" Type="http://schemas.openxmlformats.org/officeDocument/2006/relationships/image" Target="../media/image11.png"/><Relationship Id="rId12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8701" y="664745"/>
            <a:ext cx="7679531" cy="530352"/>
          </a:xfrm>
          <a:prstGeom prst="rect">
            <a:avLst/>
          </a:prstGeom>
          <a:blipFill dpi="0" rotWithShape="1">
            <a:blip r:embed="rId10" cstate="screen"/>
            <a:srcRect/>
            <a:stretch>
              <a:fillRect/>
            </a:stretch>
          </a:blipFill>
        </p:spPr>
        <p:txBody>
          <a:bodyPr vert="horz" lIns="0" tIns="0" rIns="0" bIns="137160" rtlCol="0" anchor="b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3135" y="4849684"/>
            <a:ext cx="4030663" cy="13716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 algn="ctr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smtClean="0">
                <a:solidFill>
                  <a:srgbClr val="BBBDBF"/>
                </a:solidFill>
                <a:ea typeface="MS PGothic" panose="020B0600070205080204" pitchFamily="34" charset="-128"/>
              </a:rPr>
              <a:t>Presentation Title</a:t>
            </a:r>
            <a:endParaRPr lang="en-US" dirty="0">
              <a:solidFill>
                <a:srgbClr val="BBBDBF"/>
              </a:solidFill>
              <a:ea typeface="MS PGothic" panose="020B0600070205080204" pitchFamily="34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61753" y="209131"/>
            <a:ext cx="548753" cy="1385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Acer Foco" panose="020B0604050202020203" pitchFamily="34" charset="0"/>
              </a:defRPr>
            </a:lvl1pPr>
          </a:lstStyle>
          <a:p>
            <a:r>
              <a:rPr lang="en-US" dirty="0" smtClean="0">
                <a:solidFill>
                  <a:srgbClr val="414042"/>
                </a:solidFill>
                <a:ea typeface="MS PGothic" panose="020B0600070205080204" pitchFamily="34" charset="-128"/>
              </a:rPr>
              <a:t>|       </a:t>
            </a:r>
            <a:fld id="{DC460F7E-BF8E-4752-A3EA-71DCEBC1B1D4}" type="slidenum">
              <a:rPr lang="en-US" dirty="0" smtClean="0">
                <a:solidFill>
                  <a:srgbClr val="414042"/>
                </a:solidFill>
                <a:ea typeface="MS PGothic" panose="020B0600070205080204" pitchFamily="34" charset="-128"/>
              </a:rPr>
            </a:fld>
            <a:endParaRPr lang="en-US" dirty="0">
              <a:solidFill>
                <a:srgbClr val="414042"/>
              </a:solidFill>
              <a:ea typeface="MS PGothic" panose="020B0600070205080204" pitchFamily="34" charset="-128"/>
            </a:endParaRPr>
          </a:p>
        </p:txBody>
      </p:sp>
      <p:pic>
        <p:nvPicPr>
          <p:cNvPr id="9" name="Picture 2" descr="\\.psf\Home\Desktop\acer_logo_rgb.png"/>
          <p:cNvPicPr>
            <a:picLocks noChangeAspect="1" noChangeArrowheads="1"/>
          </p:cNvPicPr>
          <p:nvPr/>
        </p:nvPicPr>
        <p:blipFill>
          <a:blip r:embed="rId11" cstate="screen"/>
          <a:srcRect/>
          <a:stretch>
            <a:fillRect/>
          </a:stretch>
        </p:blipFill>
        <p:spPr bwMode="auto">
          <a:xfrm>
            <a:off x="305745" y="4779294"/>
            <a:ext cx="76200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4" descr="\\.psf\Home\Desktop\AcerPlaybookfooter.png"/>
          <p:cNvPicPr>
            <a:picLocks noChangeAspect="1" noChangeArrowheads="1"/>
          </p:cNvPicPr>
          <p:nvPr/>
        </p:nvPicPr>
        <p:blipFill rotWithShape="1">
          <a:blip r:embed="rId12" cstate="screen"/>
          <a:srcRect r="475" b="3313"/>
          <a:stretch>
            <a:fillRect/>
          </a:stretch>
        </p:blipFill>
        <p:spPr bwMode="auto">
          <a:xfrm>
            <a:off x="4636039" y="4672429"/>
            <a:ext cx="4507992" cy="470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 Placeholder 19"/>
          <p:cNvSpPr>
            <a:spLocks noGrp="1"/>
          </p:cNvSpPr>
          <p:nvPr>
            <p:ph type="body" idx="1"/>
          </p:nvPr>
        </p:nvSpPr>
        <p:spPr>
          <a:xfrm>
            <a:off x="365129" y="1166812"/>
            <a:ext cx="7680325" cy="3432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  <a:endParaRPr lang="en-US" dirty="0" smtClean="0"/>
          </a:p>
          <a:p>
            <a:pPr lvl="2"/>
            <a:r>
              <a:rPr lang="en-US" dirty="0" smtClean="0"/>
              <a:t>Third level</a:t>
            </a:r>
            <a:endParaRPr lang="en-US" dirty="0" smtClean="0"/>
          </a:p>
          <a:p>
            <a:pPr lvl="3"/>
            <a:r>
              <a:rPr lang="en-US" dirty="0" smtClean="0"/>
              <a:t>Fourth level</a:t>
            </a:r>
            <a:endParaRPr lang="en-US" dirty="0" smtClean="0"/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5000"/>
        </a:lnSpc>
        <a:spcBef>
          <a:spcPts val="0"/>
        </a:spcBef>
        <a:buNone/>
        <a:defRPr sz="2100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800"/>
        </a:spcBef>
        <a:buFont typeface="Arial" panose="020B0604020202020204" pitchFamily="34" charset="0"/>
        <a:buNone/>
        <a:defRPr lang="en-US" sz="1400" kern="1200" dirty="0" smtClean="0">
          <a:solidFill>
            <a:schemeClr val="accent2"/>
          </a:solidFill>
          <a:latin typeface="Acer Foco" panose="020B0604050202020203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800"/>
        </a:spcBef>
        <a:buFont typeface="Arial" panose="020B0604020202020204" pitchFamily="34" charset="0"/>
        <a:buNone/>
        <a:defRPr lang="en-US" sz="1400" kern="1200" dirty="0" smtClean="0">
          <a:solidFill>
            <a:schemeClr val="tx1"/>
          </a:solidFill>
          <a:latin typeface="+mj-lt"/>
          <a:ea typeface="+mn-ea"/>
          <a:cs typeface="+mn-cs"/>
        </a:defRPr>
      </a:lvl2pPr>
      <a:lvl3pPr marL="5080" indent="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lang="en-US" sz="1000" kern="120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116205" indent="-116205" algn="l" defTabSz="914400" rtl="0" eaLnBrk="1" latinLnBrk="0" hangingPunct="1">
        <a:lnSpc>
          <a:spcPct val="95000"/>
        </a:lnSpc>
        <a:spcBef>
          <a:spcPts val="600"/>
        </a:spcBef>
        <a:buFont typeface="Arial" panose="020B0604020202020204" pitchFamily="34" charset="0"/>
        <a:buChar char="•"/>
        <a:defRPr lang="en-US" sz="1000" kern="1200" dirty="0" smtClean="0">
          <a:solidFill>
            <a:schemeClr val="tx2"/>
          </a:solidFill>
          <a:latin typeface="+mn-lt"/>
          <a:ea typeface="+mn-ea"/>
          <a:cs typeface="+mn-cs"/>
        </a:defRPr>
      </a:lvl4pPr>
      <a:lvl5pPr marL="227330" indent="-117475" algn="l" defTabSz="914400" rtl="0" eaLnBrk="1" latinLnBrk="0" hangingPunct="1">
        <a:lnSpc>
          <a:spcPct val="95000"/>
        </a:lnSpc>
        <a:spcBef>
          <a:spcPts val="300"/>
        </a:spcBef>
        <a:buFont typeface="Acer Foco Light" pitchFamily="34" charset="0"/>
        <a:buChar char="-"/>
        <a:defRPr lang="en-US" sz="1000" kern="1200" dirty="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5919" y="315913"/>
            <a:ext cx="8418512" cy="4095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125" y="1060450"/>
            <a:ext cx="8418513" cy="361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59843" y="4865354"/>
            <a:ext cx="4030663" cy="13716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 algn="ctr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smtClean="0">
                <a:solidFill>
                  <a:srgbClr val="BBBDBF"/>
                </a:solidFill>
              </a:rPr>
              <a:t>Presentation Title</a:t>
            </a:r>
            <a:endParaRPr lang="en-US" dirty="0">
              <a:solidFill>
                <a:srgbClr val="BBBDB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4870546"/>
            <a:ext cx="365125" cy="138500"/>
          </a:xfrm>
          <a:prstGeom prst="rect">
            <a:avLst/>
          </a:prstGeom>
        </p:spPr>
        <p:txBody>
          <a:bodyPr vert="horz" lIns="0" tIns="0" rIns="45720" bIns="0" rtlCol="0" anchor="b" anchorCtr="0">
            <a:noAutofit/>
          </a:bodyPr>
          <a:lstStyle>
            <a:lvl1pPr algn="r">
              <a:defRPr sz="1000">
                <a:solidFill>
                  <a:schemeClr val="accent2"/>
                </a:solidFill>
                <a:latin typeface="+mj-lt"/>
              </a:defRPr>
            </a:lvl1pPr>
          </a:lstStyle>
          <a:p>
            <a:fld id="{DC460F7E-BF8E-4752-A3EA-71DCEBC1B1D4}" type="slidenum">
              <a:rPr lang="en-US" smtClean="0">
                <a:solidFill>
                  <a:srgbClr val="83B81A"/>
                </a:solidFill>
              </a:rPr>
            </a:fld>
            <a:endParaRPr lang="en-US" dirty="0">
              <a:solidFill>
                <a:srgbClr val="83B81A"/>
              </a:solidFill>
            </a:endParaRPr>
          </a:p>
        </p:txBody>
      </p:sp>
      <p:pic>
        <p:nvPicPr>
          <p:cNvPr id="8" name="Picture 2" descr="\\.psf\Home\Desktop\acer_logo_rgb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3805" y="4830757"/>
            <a:ext cx="640080" cy="153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73726" y="4891714"/>
            <a:ext cx="748603" cy="1108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 smtClean="0">
                <a:solidFill>
                  <a:srgbClr val="BBBDBF"/>
                </a:solidFill>
              </a:rPr>
              <a:t>Acer Confidential</a:t>
            </a:r>
            <a:endParaRPr lang="en-US" sz="800" dirty="0">
              <a:solidFill>
                <a:srgbClr val="BBBDB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600" i="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16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lnSpc>
          <a:spcPct val="95000"/>
        </a:lnSpc>
        <a:spcBef>
          <a:spcPts val="900"/>
        </a:spcBef>
        <a:buFont typeface="Acer Foco Light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285750" indent="-111125" algn="l" defTabSz="914400" rtl="0" eaLnBrk="1" latinLnBrk="0" hangingPunct="1">
        <a:lnSpc>
          <a:spcPct val="95000"/>
        </a:lnSpc>
        <a:spcBef>
          <a:spcPts val="600"/>
        </a:spcBef>
        <a:buFont typeface="Acer Foco Light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396875" indent="-111125" algn="l" defTabSz="914400" rtl="0" eaLnBrk="1" latinLnBrk="0" hangingPunct="1">
        <a:lnSpc>
          <a:spcPct val="95000"/>
        </a:lnSpc>
        <a:spcBef>
          <a:spcPts val="400"/>
        </a:spcBef>
        <a:buFont typeface="Acer Foco Light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17525" indent="-120650" algn="l" defTabSz="914400" rtl="0" eaLnBrk="1" latinLnBrk="0" hangingPunct="1">
        <a:lnSpc>
          <a:spcPct val="95000"/>
        </a:lnSpc>
        <a:spcBef>
          <a:spcPts val="200"/>
        </a:spcBef>
        <a:buFont typeface="Acer Foco Light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2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Relationship Id="rId3" Type="http://schemas.openxmlformats.org/officeDocument/2006/relationships/image" Target="../media/image12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" Target="slide2.xml"/><Relationship Id="rId1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" Target="slide2.xml"/><Relationship Id="rId1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" Target="slide2.xml"/><Relationship Id="rId1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" Target="slide2.xml"/><Relationship Id="rId1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" Target="slide2.xml"/><Relationship Id="rId1" Type="http://schemas.openxmlformats.org/officeDocument/2006/relationships/image" Target="../media/image36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image" Target="../media/image38.png"/><Relationship Id="rId1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11.xml"/><Relationship Id="rId5" Type="http://schemas.openxmlformats.org/officeDocument/2006/relationships/image" Target="../media/image43.jpeg"/><Relationship Id="rId4" Type="http://schemas.openxmlformats.org/officeDocument/2006/relationships/image" Target="../media/image42.png"/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image" Target="../media/image3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image" Target="../media/image41.png"/><Relationship Id="rId1" Type="http://schemas.openxmlformats.org/officeDocument/2006/relationships/image" Target="../media/image4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9.xml"/><Relationship Id="rId1" Type="http://schemas.openxmlformats.org/officeDocument/2006/relationships/image" Target="../media/image45.jpeg"/></Relationships>
</file>

<file path=ppt/slides/_rels/slide2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1.xml"/><Relationship Id="rId3" Type="http://schemas.openxmlformats.org/officeDocument/2006/relationships/image" Target="../media/image16.png"/><Relationship Id="rId2" Type="http://schemas.openxmlformats.org/officeDocument/2006/relationships/slide" Target="slide9.xml"/><Relationship Id="rId1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image" Target="../media/image17.png"/><Relationship Id="rId1" Type="http://schemas.openxmlformats.org/officeDocument/2006/relationships/slide" Target="slide9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1.xml"/><Relationship Id="rId8" Type="http://schemas.openxmlformats.org/officeDocument/2006/relationships/image" Target="../media/image24.png"/><Relationship Id="rId7" Type="http://schemas.openxmlformats.org/officeDocument/2006/relationships/image" Target="../media/image23.jpeg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png"/><Relationship Id="rId3" Type="http://schemas.openxmlformats.org/officeDocument/2006/relationships/image" Target="../media/image19.png"/><Relationship Id="rId2" Type="http://schemas.openxmlformats.org/officeDocument/2006/relationships/slide" Target="slide5.xml"/><Relationship Id="rId1" Type="http://schemas.openxmlformats.org/officeDocument/2006/relationships/image" Target="../media/image18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1.xml"/><Relationship Id="rId1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1.xml"/><Relationship Id="rId4" Type="http://schemas.openxmlformats.org/officeDocument/2006/relationships/image" Target="../media/image29.png"/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image" Target="../media/image26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1.xml"/><Relationship Id="rId3" Type="http://schemas.openxmlformats.org/officeDocument/2006/relationships/slide" Target="slide2.xml"/><Relationship Id="rId2" Type="http://schemas.openxmlformats.org/officeDocument/2006/relationships/image" Target="../media/image31.png"/><Relationship Id="rId1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" name="think-cell Slide" r:id="rId2" imgW="6985" imgH="6985" progId="TCLayout.ActiveDocument.1">
                  <p:embed/>
                </p:oleObj>
              </mc:Choice>
              <mc:Fallback>
                <p:oleObj name="think-cell Slide" r:id="rId2" imgW="6985" imgH="6985" progId="TCLayout.ActiveDocument.1">
                  <p:embed/>
                  <p:pic>
                    <p:nvPicPr>
                      <p:cNvPr id="0" name="图片 1124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76" name="Picture 5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5225" y="220688"/>
            <a:ext cx="1476375" cy="146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762562"/>
            <a:ext cx="8839200" cy="286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文字方塊 5"/>
          <p:cNvSpPr txBox="1"/>
          <p:nvPr/>
        </p:nvSpPr>
        <p:spPr>
          <a:xfrm>
            <a:off x="152400" y="4761984"/>
            <a:ext cx="2520049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zh-TW" sz="1400" i="1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Commercial Desktop, Gerald Hsiao</a:t>
            </a:r>
            <a:endParaRPr lang="zh-TW" altLang="en-US" sz="1400" i="1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sz="2400" dirty="0" smtClean="0">
                <a:latin typeface="Calibri" panose="020F0502020204030204" pitchFamily="34" charset="0"/>
              </a:rPr>
              <a:t>Intel Unite – Sharing screens on one Display</a:t>
            </a:r>
            <a:endParaRPr lang="zh-TW" altLang="en-US" sz="2400" dirty="0">
              <a:latin typeface="Calibri" panose="020F0502020204030204" pitchFamily="34" charset="0"/>
            </a:endParaRPr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200" y="742950"/>
            <a:ext cx="5359400" cy="4019550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1981200" y="1962150"/>
            <a:ext cx="2679700" cy="1600200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" name="矩形 5"/>
          <p:cNvSpPr/>
          <p:nvPr/>
        </p:nvSpPr>
        <p:spPr>
          <a:xfrm>
            <a:off x="4648200" y="1962150"/>
            <a:ext cx="2679700" cy="1600200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" name="圓角矩形 6">
            <a:hlinkClick r:id="rId2" action="ppaction://hlinksldjump"/>
          </p:cNvPr>
          <p:cNvSpPr/>
          <p:nvPr/>
        </p:nvSpPr>
        <p:spPr>
          <a:xfrm>
            <a:off x="8305800" y="0"/>
            <a:ext cx="838200" cy="285750"/>
          </a:xfrm>
          <a:prstGeom prst="round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200" dirty="0" smtClean="0">
                <a:latin typeface="Calibri" panose="020F0502020204030204" pitchFamily="34" charset="0"/>
              </a:rPr>
              <a:t>Back</a:t>
            </a:r>
            <a:endParaRPr lang="zh-TW" altLang="en-US" sz="1200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sz="2400" dirty="0" smtClean="0">
                <a:latin typeface="Calibri" panose="020F0502020204030204" pitchFamily="34" charset="0"/>
              </a:rPr>
              <a:t>Intel Unite – Join a Meeting 01 (Enter PIN code)</a:t>
            </a:r>
            <a:endParaRPr lang="zh-TW" altLang="en-US" sz="2400" dirty="0">
              <a:latin typeface="Calibri" panose="020F0502020204030204" pitchFamily="34" charset="0"/>
            </a:endParaRPr>
          </a:p>
        </p:txBody>
      </p:sp>
      <p:pic>
        <p:nvPicPr>
          <p:cNvPr id="6" name="圖片 5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8399" y="819150"/>
            <a:ext cx="6908801" cy="3886200"/>
          </a:xfrm>
          <a:prstGeom prst="rect">
            <a:avLst/>
          </a:prstGeom>
        </p:spPr>
      </p:pic>
      <p:sp>
        <p:nvSpPr>
          <p:cNvPr id="8" name="圓角矩形 7">
            <a:hlinkClick r:id="rId2" action="ppaction://hlinksldjump"/>
          </p:cNvPr>
          <p:cNvSpPr/>
          <p:nvPr/>
        </p:nvSpPr>
        <p:spPr>
          <a:xfrm>
            <a:off x="8305800" y="0"/>
            <a:ext cx="838200" cy="285750"/>
          </a:xfrm>
          <a:prstGeom prst="round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200" dirty="0" smtClean="0">
                <a:latin typeface="Calibri" panose="020F0502020204030204" pitchFamily="34" charset="0"/>
              </a:rPr>
              <a:t>Back</a:t>
            </a:r>
            <a:endParaRPr lang="zh-TW" altLang="en-US" sz="1200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圖片 5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" y="869156"/>
            <a:ext cx="6955368" cy="3912394"/>
          </a:xfrm>
          <a:prstGeom prst="rect">
            <a:avLst/>
          </a:prstGeom>
        </p:spPr>
      </p:pic>
      <p:sp>
        <p:nvSpPr>
          <p:cNvPr id="3" name="標題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sz="2400" dirty="0" smtClean="0">
                <a:latin typeface="Calibri" panose="020F0502020204030204" pitchFamily="34" charset="0"/>
              </a:rPr>
              <a:t>Intel Unite – Join a Meeting 02 (Connected to HUB)</a:t>
            </a:r>
            <a:endParaRPr lang="zh-TW" altLang="en-US" sz="2400" dirty="0">
              <a:latin typeface="Calibri" panose="020F0502020204030204" pitchFamily="34" charset="0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1676400" y="2495550"/>
            <a:ext cx="1219200" cy="6858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5" name="文字方塊 4"/>
          <p:cNvSpPr txBox="1"/>
          <p:nvPr/>
        </p:nvSpPr>
        <p:spPr>
          <a:xfrm>
            <a:off x="1295401" y="3257550"/>
            <a:ext cx="1981200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zh-TW" sz="12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Ready to share your screen to other attendees</a:t>
            </a:r>
            <a:endParaRPr lang="zh-TW" altLang="en-US" sz="1200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1123507" y="3943350"/>
            <a:ext cx="400493" cy="5334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8" name="文字方塊 7"/>
          <p:cNvSpPr txBox="1"/>
          <p:nvPr/>
        </p:nvSpPr>
        <p:spPr>
          <a:xfrm>
            <a:off x="1600200" y="4095750"/>
            <a:ext cx="1981200" cy="1661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zh-TW" sz="12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Offer P2P file sharing</a:t>
            </a:r>
            <a:endParaRPr lang="zh-TW" altLang="en-US" sz="1200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sp>
        <p:nvSpPr>
          <p:cNvPr id="9" name="圓角矩形 8">
            <a:hlinkClick r:id="rId2" action="ppaction://hlinksldjump"/>
          </p:cNvPr>
          <p:cNvSpPr/>
          <p:nvPr/>
        </p:nvSpPr>
        <p:spPr>
          <a:xfrm>
            <a:off x="8305800" y="0"/>
            <a:ext cx="838200" cy="285750"/>
          </a:xfrm>
          <a:prstGeom prst="round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200" dirty="0" smtClean="0">
                <a:latin typeface="Calibri" panose="020F0502020204030204" pitchFamily="34" charset="0"/>
              </a:rPr>
              <a:t>Back</a:t>
            </a:r>
            <a:endParaRPr lang="zh-TW" altLang="en-US" sz="1200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sz="2400" dirty="0" smtClean="0">
                <a:latin typeface="Calibri" panose="020F0502020204030204" pitchFamily="34" charset="0"/>
              </a:rPr>
              <a:t>Intel Unite – Join a Meeting 03 (share screen &amp; make annotations)</a:t>
            </a:r>
            <a:endParaRPr lang="zh-TW" altLang="en-US" sz="2400" dirty="0">
              <a:latin typeface="Calibri" panose="020F0502020204030204" pitchFamily="34" charset="0"/>
            </a:endParaRPr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731" y="742950"/>
            <a:ext cx="7044269" cy="3962400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3733800" y="723900"/>
            <a:ext cx="1524000" cy="100965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" name="圓角矩形 6">
            <a:hlinkClick r:id="rId2" action="ppaction://hlinksldjump"/>
          </p:cNvPr>
          <p:cNvSpPr/>
          <p:nvPr/>
        </p:nvSpPr>
        <p:spPr>
          <a:xfrm>
            <a:off x="8305800" y="0"/>
            <a:ext cx="838200" cy="285750"/>
          </a:xfrm>
          <a:prstGeom prst="round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200" dirty="0" smtClean="0">
                <a:latin typeface="Calibri" panose="020F0502020204030204" pitchFamily="34" charset="0"/>
              </a:rPr>
              <a:t>Back</a:t>
            </a:r>
            <a:endParaRPr lang="zh-TW" altLang="en-US" sz="1200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sz="2400" dirty="0" smtClean="0">
                <a:latin typeface="Calibri" panose="020F0502020204030204" pitchFamily="34" charset="0"/>
              </a:rPr>
              <a:t>Intel Unite – Join a Meeting 04 (share files to other attendees)</a:t>
            </a:r>
            <a:endParaRPr lang="zh-TW" altLang="en-US" sz="2400" dirty="0">
              <a:latin typeface="Calibri" panose="020F0502020204030204" pitchFamily="34" charset="0"/>
            </a:endParaRPr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665" y="666750"/>
            <a:ext cx="7179735" cy="4038600"/>
          </a:xfrm>
          <a:prstGeom prst="rect">
            <a:avLst/>
          </a:prstGeom>
        </p:spPr>
      </p:pic>
      <p:sp>
        <p:nvSpPr>
          <p:cNvPr id="7" name="圓角矩形 6">
            <a:hlinkClick r:id="rId2" action="ppaction://hlinksldjump"/>
          </p:cNvPr>
          <p:cNvSpPr/>
          <p:nvPr/>
        </p:nvSpPr>
        <p:spPr>
          <a:xfrm>
            <a:off x="8305800" y="0"/>
            <a:ext cx="838200" cy="285750"/>
          </a:xfrm>
          <a:prstGeom prst="round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200" dirty="0" smtClean="0">
                <a:latin typeface="Calibri" panose="020F0502020204030204" pitchFamily="34" charset="0"/>
              </a:rPr>
              <a:t>Back</a:t>
            </a:r>
            <a:endParaRPr lang="zh-TW" altLang="en-US" sz="1200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內容版面配置區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r>
              <a:rPr lang="en-US" altLang="zh-TW" i="0" dirty="0" smtClean="0">
                <a:latin typeface="Calibri" panose="020F0502020204030204" pitchFamily="34" charset="0"/>
              </a:rPr>
              <a:t>Install Intel Unite Client &amp; Connected to HUB</a:t>
            </a:r>
            <a:endParaRPr lang="zh-TW" altLang="en-US" i="0" dirty="0">
              <a:latin typeface="Calibri" panose="020F0502020204030204" pitchFamily="34" charset="0"/>
            </a:endParaRP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60F7E-BF8E-4752-A3EA-71DCEBC1B1D4}" type="slidenum">
              <a:rPr lang="en-US" smtClean="0">
                <a:solidFill>
                  <a:srgbClr val="83B81A"/>
                </a:solidFill>
              </a:rPr>
            </a:fld>
            <a:endParaRPr lang="en-US" dirty="0">
              <a:solidFill>
                <a:srgbClr val="83B81A"/>
              </a:solidFill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標題 9"/>
          <p:cNvSpPr>
            <a:spLocks noGrp="1"/>
          </p:cNvSpPr>
          <p:nvPr>
            <p:ph type="title"/>
          </p:nvPr>
        </p:nvSpPr>
        <p:spPr>
          <a:xfrm>
            <a:off x="365919" y="104775"/>
            <a:ext cx="8418512" cy="409575"/>
          </a:xfrm>
        </p:spPr>
        <p:txBody>
          <a:bodyPr/>
          <a:lstStyle/>
          <a:p>
            <a:r>
              <a:rPr lang="en-US" altLang="zh-TW" dirty="0" smtClean="0">
                <a:latin typeface="Calibri" panose="020F0502020204030204" pitchFamily="34" charset="0"/>
              </a:rPr>
              <a:t>01. Installing Intel Unite Client</a:t>
            </a:r>
            <a:endParaRPr lang="zh-TW" altLang="en-US" dirty="0">
              <a:latin typeface="Calibri" panose="020F0502020204030204" pitchFamily="34" charset="0"/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414042"/>
                </a:solidFill>
              </a:rPr>
              <a:t>|       </a:t>
            </a:r>
            <a:fld id="{DC460F7E-BF8E-4752-A3EA-71DCEBC1B1D4}" type="slidenum">
              <a:rPr lang="en-US" smtClean="0">
                <a:solidFill>
                  <a:srgbClr val="414042"/>
                </a:solidFill>
              </a:rPr>
            </a:fld>
            <a:endParaRPr lang="en-US" dirty="0">
              <a:solidFill>
                <a:srgbClr val="414042"/>
              </a:solidFill>
            </a:endParaRPr>
          </a:p>
        </p:txBody>
      </p:sp>
      <p:sp>
        <p:nvSpPr>
          <p:cNvPr id="20" name="內容版面配置區 19"/>
          <p:cNvSpPr>
            <a:spLocks noGrp="1"/>
          </p:cNvSpPr>
          <p:nvPr>
            <p:ph sz="quarter" idx="12"/>
          </p:nvPr>
        </p:nvSpPr>
        <p:spPr>
          <a:xfrm>
            <a:off x="365125" y="514350"/>
            <a:ext cx="8418513" cy="416242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sz="1400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Prepare another Windows system and connect it to the WLAN</a:t>
            </a:r>
            <a:endParaRPr lang="en-US" altLang="zh-TW" sz="1400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sz="1400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Open the browser and link to the URL show on Unite</a:t>
            </a:r>
            <a:endParaRPr lang="en-US" altLang="zh-TW" sz="1400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sz="1400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Download the build</a:t>
            </a:r>
            <a:endParaRPr lang="en-US" altLang="zh-TW" sz="1400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1733550"/>
            <a:ext cx="5715000" cy="3214687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1143000" y="1809750"/>
            <a:ext cx="914400" cy="21031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2" name="矩形 11"/>
          <p:cNvSpPr/>
          <p:nvPr/>
        </p:nvSpPr>
        <p:spPr>
          <a:xfrm>
            <a:off x="1141228" y="3235736"/>
            <a:ext cx="2135372" cy="40281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3" name="矩形 12"/>
          <p:cNvSpPr/>
          <p:nvPr/>
        </p:nvSpPr>
        <p:spPr>
          <a:xfrm>
            <a:off x="1485900" y="4487826"/>
            <a:ext cx="4572000" cy="3048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5" name="橢圓 14"/>
          <p:cNvSpPr/>
          <p:nvPr/>
        </p:nvSpPr>
        <p:spPr>
          <a:xfrm>
            <a:off x="2126512" y="1753363"/>
            <a:ext cx="304800" cy="266699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200" b="1" dirty="0">
                <a:latin typeface="Calibri" panose="020F0502020204030204" pitchFamily="34" charset="0"/>
              </a:rPr>
              <a:t>2</a:t>
            </a:r>
            <a:endParaRPr lang="zh-TW" altLang="en-US" sz="1200" b="1" dirty="0">
              <a:latin typeface="Calibri" panose="020F0502020204030204" pitchFamily="34" charset="0"/>
            </a:endParaRPr>
          </a:p>
        </p:txBody>
      </p:sp>
      <p:sp>
        <p:nvSpPr>
          <p:cNvPr id="16" name="橢圓 15"/>
          <p:cNvSpPr/>
          <p:nvPr/>
        </p:nvSpPr>
        <p:spPr>
          <a:xfrm>
            <a:off x="3276600" y="3303792"/>
            <a:ext cx="304800" cy="266699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200" b="1" dirty="0">
                <a:latin typeface="Calibri" panose="020F0502020204030204" pitchFamily="34" charset="0"/>
              </a:rPr>
              <a:t>3</a:t>
            </a:r>
            <a:endParaRPr lang="zh-TW" altLang="en-US" sz="1200" b="1" dirty="0">
              <a:latin typeface="Calibri" panose="020F0502020204030204" pitchFamily="34" charset="0"/>
            </a:endParaRPr>
          </a:p>
        </p:txBody>
      </p:sp>
      <p:sp>
        <p:nvSpPr>
          <p:cNvPr id="17" name="橢圓 16"/>
          <p:cNvSpPr/>
          <p:nvPr/>
        </p:nvSpPr>
        <p:spPr>
          <a:xfrm>
            <a:off x="5105400" y="4221127"/>
            <a:ext cx="304800" cy="266699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200" b="1" dirty="0">
                <a:latin typeface="Calibri" panose="020F0502020204030204" pitchFamily="34" charset="0"/>
              </a:rPr>
              <a:t>4</a:t>
            </a:r>
            <a:endParaRPr lang="zh-TW" altLang="en-US" sz="1200" b="1" dirty="0">
              <a:latin typeface="Calibri" panose="020F0502020204030204" pitchFamily="34" charset="0"/>
            </a:endParaRPr>
          </a:p>
        </p:txBody>
      </p:sp>
      <p:pic>
        <p:nvPicPr>
          <p:cNvPr id="18" name="圖片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895350"/>
            <a:ext cx="3886200" cy="3108960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5784996" y="2206043"/>
            <a:ext cx="2673203" cy="21031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4" name="橢圓 13"/>
          <p:cNvSpPr/>
          <p:nvPr/>
        </p:nvSpPr>
        <p:spPr>
          <a:xfrm>
            <a:off x="7086600" y="1885950"/>
            <a:ext cx="304800" cy="266699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200" b="1" dirty="0" smtClean="0">
                <a:latin typeface="Calibri" panose="020F0502020204030204" pitchFamily="34" charset="0"/>
              </a:rPr>
              <a:t>1</a:t>
            </a:r>
            <a:endParaRPr lang="zh-TW" altLang="en-US" sz="1200" b="1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標題 9"/>
          <p:cNvSpPr>
            <a:spLocks noGrp="1"/>
          </p:cNvSpPr>
          <p:nvPr>
            <p:ph type="title"/>
          </p:nvPr>
        </p:nvSpPr>
        <p:spPr>
          <a:xfrm>
            <a:off x="365919" y="104775"/>
            <a:ext cx="8418512" cy="409575"/>
          </a:xfrm>
        </p:spPr>
        <p:txBody>
          <a:bodyPr/>
          <a:lstStyle/>
          <a:p>
            <a:r>
              <a:rPr lang="en-US" altLang="zh-TW" dirty="0" smtClean="0">
                <a:latin typeface="Calibri" panose="020F0502020204030204" pitchFamily="34" charset="0"/>
              </a:rPr>
              <a:t>02. Connect the Client to the HUB</a:t>
            </a:r>
            <a:endParaRPr lang="zh-TW" altLang="en-US" dirty="0">
              <a:latin typeface="Calibri" panose="020F0502020204030204" pitchFamily="34" charset="0"/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414042"/>
                </a:solidFill>
              </a:rPr>
              <a:t>|       </a:t>
            </a:r>
            <a:fld id="{DC460F7E-BF8E-4752-A3EA-71DCEBC1B1D4}" type="slidenum">
              <a:rPr lang="en-US" smtClean="0">
                <a:solidFill>
                  <a:srgbClr val="414042"/>
                </a:solidFill>
              </a:rPr>
            </a:fld>
            <a:endParaRPr lang="en-US" dirty="0">
              <a:solidFill>
                <a:srgbClr val="414042"/>
              </a:solidFill>
            </a:endParaRPr>
          </a:p>
        </p:txBody>
      </p:sp>
      <p:sp>
        <p:nvSpPr>
          <p:cNvPr id="20" name="內容版面配置區 19"/>
          <p:cNvSpPr>
            <a:spLocks noGrp="1"/>
          </p:cNvSpPr>
          <p:nvPr>
            <p:ph sz="quarter" idx="12"/>
          </p:nvPr>
        </p:nvSpPr>
        <p:spPr>
          <a:xfrm>
            <a:off x="365125" y="514350"/>
            <a:ext cx="8418513" cy="416242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sz="1200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Execute the installer that you downloaded</a:t>
            </a:r>
            <a:endParaRPr lang="en-US" altLang="zh-TW" sz="1200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sz="1200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Enter the shared key which used by the Intel Hub, ex. “12345678” (step 03)</a:t>
            </a:r>
            <a:endParaRPr lang="en-US" altLang="zh-TW" sz="1200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sz="1200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Enter the PIN code displayed on Unite, wait until your PC is connected with the Unite Hub</a:t>
            </a:r>
            <a:endParaRPr lang="en-US" altLang="zh-TW" sz="1200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1986219"/>
            <a:ext cx="74930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圖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3049640"/>
            <a:ext cx="3727712" cy="2037940"/>
          </a:xfrm>
          <a:prstGeom prst="rect">
            <a:avLst/>
          </a:prstGeom>
        </p:spPr>
      </p:pic>
      <p:sp>
        <p:nvSpPr>
          <p:cNvPr id="9" name="橢圓 8"/>
          <p:cNvSpPr/>
          <p:nvPr/>
        </p:nvSpPr>
        <p:spPr>
          <a:xfrm>
            <a:off x="603250" y="1695451"/>
            <a:ext cx="304800" cy="266699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200" b="1" dirty="0" smtClean="0">
                <a:latin typeface="Calibri" panose="020F0502020204030204" pitchFamily="34" charset="0"/>
              </a:rPr>
              <a:t>1</a:t>
            </a:r>
            <a:endParaRPr lang="zh-TW" altLang="en-US" sz="1200" b="1" dirty="0">
              <a:latin typeface="Calibri" panose="020F0502020204030204" pitchFamily="34" charset="0"/>
            </a:endParaRPr>
          </a:p>
        </p:txBody>
      </p:sp>
      <p:sp>
        <p:nvSpPr>
          <p:cNvPr id="11" name="橢圓 10"/>
          <p:cNvSpPr/>
          <p:nvPr/>
        </p:nvSpPr>
        <p:spPr>
          <a:xfrm>
            <a:off x="2127512" y="4208720"/>
            <a:ext cx="304800" cy="266699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200" b="1" dirty="0">
                <a:latin typeface="Calibri" panose="020F0502020204030204" pitchFamily="34" charset="0"/>
              </a:rPr>
              <a:t>2</a:t>
            </a:r>
            <a:endParaRPr lang="zh-TW" altLang="en-US" sz="1200" b="1" dirty="0">
              <a:latin typeface="Calibri" panose="020F0502020204030204" pitchFamily="34" charset="0"/>
            </a:endParaRPr>
          </a:p>
        </p:txBody>
      </p:sp>
      <p:pic>
        <p:nvPicPr>
          <p:cNvPr id="5" name="圖片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5600" y="1504950"/>
            <a:ext cx="2213955" cy="3522201"/>
          </a:xfrm>
          <a:prstGeom prst="rect">
            <a:avLst/>
          </a:prstGeom>
        </p:spPr>
      </p:pic>
      <p:pic>
        <p:nvPicPr>
          <p:cNvPr id="8" name="圖片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7159" y="1504949"/>
            <a:ext cx="2246041" cy="3522201"/>
          </a:xfrm>
          <a:prstGeom prst="rect">
            <a:avLst/>
          </a:prstGeom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2600" y="1986219"/>
            <a:ext cx="2728913" cy="526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矩形 15"/>
          <p:cNvSpPr/>
          <p:nvPr/>
        </p:nvSpPr>
        <p:spPr>
          <a:xfrm>
            <a:off x="1752601" y="2190750"/>
            <a:ext cx="838200" cy="1524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cxnSp>
        <p:nvCxnSpPr>
          <p:cNvPr id="13" name="直線單箭頭接點 12"/>
          <p:cNvCxnSpPr/>
          <p:nvPr/>
        </p:nvCxnSpPr>
        <p:spPr>
          <a:xfrm>
            <a:off x="2667000" y="2266950"/>
            <a:ext cx="2057400" cy="684469"/>
          </a:xfrm>
          <a:prstGeom prst="straightConnector1">
            <a:avLst/>
          </a:prstGeom>
          <a:ln w="19050">
            <a:solidFill>
              <a:srgbClr val="FF000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橢圓 20"/>
          <p:cNvSpPr/>
          <p:nvPr/>
        </p:nvSpPr>
        <p:spPr>
          <a:xfrm>
            <a:off x="5257800" y="2533651"/>
            <a:ext cx="304800" cy="266699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200" b="1" dirty="0" smtClean="0">
                <a:latin typeface="Calibri" panose="020F0502020204030204" pitchFamily="34" charset="0"/>
              </a:rPr>
              <a:t>3</a:t>
            </a:r>
            <a:endParaRPr lang="zh-TW" altLang="en-US" sz="1200" b="1" dirty="0">
              <a:latin typeface="Calibri" panose="020F0502020204030204" pitchFamily="34" charset="0"/>
            </a:endParaRPr>
          </a:p>
        </p:txBody>
      </p:sp>
      <p:sp>
        <p:nvSpPr>
          <p:cNvPr id="22" name="橢圓 21"/>
          <p:cNvSpPr/>
          <p:nvPr/>
        </p:nvSpPr>
        <p:spPr>
          <a:xfrm>
            <a:off x="7696200" y="1314451"/>
            <a:ext cx="304800" cy="266699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200" b="1" dirty="0">
                <a:latin typeface="Calibri" panose="020F0502020204030204" pitchFamily="34" charset="0"/>
              </a:rPr>
              <a:t>4</a:t>
            </a:r>
            <a:endParaRPr lang="zh-TW" altLang="en-US" sz="1200" b="1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標題 9"/>
          <p:cNvSpPr>
            <a:spLocks noGrp="1"/>
          </p:cNvSpPr>
          <p:nvPr>
            <p:ph type="title"/>
          </p:nvPr>
        </p:nvSpPr>
        <p:spPr>
          <a:xfrm>
            <a:off x="365919" y="104775"/>
            <a:ext cx="8418512" cy="409575"/>
          </a:xfrm>
        </p:spPr>
        <p:txBody>
          <a:bodyPr/>
          <a:lstStyle/>
          <a:p>
            <a:r>
              <a:rPr lang="en-US" altLang="zh-TW" dirty="0" smtClean="0">
                <a:latin typeface="Calibri" panose="020F0502020204030204" pitchFamily="34" charset="0"/>
              </a:rPr>
              <a:t>03. Sharing screen to the HUB</a:t>
            </a:r>
            <a:endParaRPr lang="zh-TW" altLang="en-US" dirty="0">
              <a:latin typeface="Calibri" panose="020F0502020204030204" pitchFamily="34" charset="0"/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414042"/>
                </a:solidFill>
              </a:rPr>
              <a:t>|       </a:t>
            </a:r>
            <a:fld id="{DC460F7E-BF8E-4752-A3EA-71DCEBC1B1D4}" type="slidenum">
              <a:rPr lang="en-US" smtClean="0">
                <a:solidFill>
                  <a:srgbClr val="414042"/>
                </a:solidFill>
              </a:rPr>
            </a:fld>
            <a:endParaRPr lang="en-US" dirty="0">
              <a:solidFill>
                <a:srgbClr val="414042"/>
              </a:solidFill>
            </a:endParaRPr>
          </a:p>
        </p:txBody>
      </p:sp>
      <p:sp>
        <p:nvSpPr>
          <p:cNvPr id="20" name="內容版面配置區 19"/>
          <p:cNvSpPr>
            <a:spLocks noGrp="1"/>
          </p:cNvSpPr>
          <p:nvPr>
            <p:ph sz="quarter" idx="12"/>
          </p:nvPr>
        </p:nvSpPr>
        <p:spPr>
          <a:xfrm>
            <a:off x="365125" y="514350"/>
            <a:ext cx="8418513" cy="416242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Clicked the “Present Screen” button on the client system</a:t>
            </a:r>
            <a:endParaRPr lang="en-US" altLang="zh-TW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On Unite Hub, show the screen of the connected device</a:t>
            </a:r>
            <a:endParaRPr lang="en-US" altLang="zh-TW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3" name="圖片 2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9513" y="1402080"/>
            <a:ext cx="4510087" cy="3608070"/>
          </a:xfrm>
          <a:prstGeom prst="rect">
            <a:avLst/>
          </a:prstGeom>
        </p:spPr>
      </p:pic>
      <p:pic>
        <p:nvPicPr>
          <p:cNvPr id="17" name="圖片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313" y="1378244"/>
            <a:ext cx="2213955" cy="3522201"/>
          </a:xfrm>
          <a:prstGeom prst="rect">
            <a:avLst/>
          </a:prstGeom>
        </p:spPr>
      </p:pic>
      <p:sp>
        <p:nvSpPr>
          <p:cNvPr id="18" name="橢圓 17"/>
          <p:cNvSpPr/>
          <p:nvPr/>
        </p:nvSpPr>
        <p:spPr>
          <a:xfrm>
            <a:off x="1585913" y="2940346"/>
            <a:ext cx="304800" cy="266699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200" b="1" dirty="0" smtClean="0">
                <a:latin typeface="Calibri" panose="020F0502020204030204" pitchFamily="34" charset="0"/>
              </a:rPr>
              <a:t>1</a:t>
            </a:r>
            <a:endParaRPr lang="zh-TW" altLang="en-US" sz="1200" b="1" dirty="0">
              <a:latin typeface="Calibri" panose="020F0502020204030204" pitchFamily="34" charset="0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1966913" y="2914649"/>
            <a:ext cx="990600" cy="29146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3" name="橢圓 22"/>
          <p:cNvSpPr/>
          <p:nvPr/>
        </p:nvSpPr>
        <p:spPr>
          <a:xfrm>
            <a:off x="5700713" y="1644946"/>
            <a:ext cx="304800" cy="266699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200" b="1" dirty="0">
                <a:latin typeface="Calibri" panose="020F0502020204030204" pitchFamily="34" charset="0"/>
              </a:rPr>
              <a:t>2</a:t>
            </a:r>
            <a:endParaRPr lang="zh-TW" altLang="en-US" sz="1200" b="1" dirty="0">
              <a:latin typeface="Calibri" panose="020F0502020204030204" pitchFamily="34" charset="0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3719512" y="1911645"/>
            <a:ext cx="4510087" cy="25908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>
                <a:solidFill>
                  <a:srgbClr val="414042"/>
                </a:solidFill>
              </a:rPr>
              <a:t>|       </a:t>
            </a:r>
            <a:fld id="{DC460F7E-BF8E-4752-A3EA-71DCEBC1B1D4}" type="slidenum">
              <a:rPr lang="en-US" smtClean="0">
                <a:solidFill>
                  <a:srgbClr val="414042"/>
                </a:solidFill>
              </a:rPr>
            </a:fld>
            <a:endParaRPr lang="en-US" dirty="0">
              <a:solidFill>
                <a:srgbClr val="414042"/>
              </a:solidFill>
            </a:endParaRPr>
          </a:p>
        </p:txBody>
      </p:sp>
      <p:pic>
        <p:nvPicPr>
          <p:cNvPr id="3" name="內容版面配置區 2"/>
          <p:cNvPicPr>
            <a:picLocks noGrp="1" noChangeAspect="1"/>
          </p:cNvPicPr>
          <p:nvPr>
            <p:ph idx="4294967295"/>
          </p:nvPr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6350" y="819150"/>
            <a:ext cx="6648450" cy="3810000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/>
          <p:cNvSpPr>
            <a:spLocks noGrp="1"/>
          </p:cNvSpPr>
          <p:nvPr>
            <p:ph type="title"/>
          </p:nvPr>
        </p:nvSpPr>
        <p:spPr>
          <a:xfrm>
            <a:off x="304800" y="180975"/>
            <a:ext cx="8418512" cy="409575"/>
          </a:xfrm>
        </p:spPr>
        <p:txBody>
          <a:bodyPr/>
          <a:lstStyle/>
          <a:p>
            <a:r>
              <a:rPr lang="en-US" altLang="zh-TW" dirty="0" smtClean="0">
                <a:latin typeface="Calibri" panose="020F0502020204030204" pitchFamily="34" charset="0"/>
              </a:rPr>
              <a:t>Intel Unite </a:t>
            </a:r>
            <a:r>
              <a:rPr lang="en-US" altLang="zh-TW" dirty="0">
                <a:latin typeface="Calibri" panose="020F0502020204030204" pitchFamily="34" charset="0"/>
              </a:rPr>
              <a:t>– Smart, Secure Conference Room Technology</a:t>
            </a:r>
            <a:endParaRPr lang="zh-TW" altLang="en-US" dirty="0">
              <a:latin typeface="Calibri" panose="020F0502020204030204" pitchFamily="34" charset="0"/>
            </a:endParaRPr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>
          <a:xfrm>
            <a:off x="360362" y="847725"/>
            <a:ext cx="8326438" cy="393382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b="1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Shared Screens without Wires</a:t>
            </a:r>
            <a:endParaRPr lang="en-US" altLang="zh-TW" b="1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460375" lvl="1" indent="-285750">
              <a:buFont typeface="Arial" panose="020B0604020202020204" pitchFamily="34" charset="0"/>
              <a:buChar char="•"/>
            </a:pPr>
            <a:r>
              <a:rPr lang="en-US" altLang="zh-TW" sz="1200" i="1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C</a:t>
            </a:r>
            <a:r>
              <a:rPr lang="en-US" altLang="zh-TW" sz="1200" i="1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onnect attendees to existing displays or projectors without wires</a:t>
            </a:r>
            <a:endParaRPr lang="en-US" altLang="zh-TW" sz="1200" i="1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460375" lvl="1" indent="-285750">
              <a:buFont typeface="Arial" panose="020B0604020202020204" pitchFamily="34" charset="0"/>
              <a:buChar char="•"/>
            </a:pPr>
            <a:r>
              <a:rPr lang="en-US" altLang="zh-TW" sz="1200" i="1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Instantly share screens on one display (up to 4 screens on one HUB)</a:t>
            </a:r>
            <a:endParaRPr lang="en-US" altLang="zh-TW" sz="1200" i="1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b="1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Collaborate in Real-Time</a:t>
            </a:r>
            <a:endParaRPr lang="en-US" altLang="zh-TW" b="1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460375" lvl="1" indent="-285750">
              <a:buFont typeface="Arial" panose="020B0604020202020204" pitchFamily="34" charset="0"/>
              <a:buChar char="•"/>
            </a:pPr>
            <a:r>
              <a:rPr lang="en-US" altLang="zh-TW" sz="1200" i="1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Attendees can view, annotate, and share documents</a:t>
            </a:r>
            <a:endParaRPr lang="en-US" altLang="zh-TW" sz="1200" i="1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b="1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Safer Meetings</a:t>
            </a:r>
            <a:endParaRPr lang="en-US" altLang="zh-TW" b="1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460375" lvl="1" indent="-285750">
              <a:buFont typeface="Arial" panose="020B0604020202020204" pitchFamily="34" charset="0"/>
              <a:buChar char="•"/>
            </a:pPr>
            <a:r>
              <a:rPr lang="en-US" altLang="zh-TW" sz="1200" i="1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Join a meeting by entering a PIN code</a:t>
            </a:r>
            <a:endParaRPr lang="en-US" altLang="zh-TW" sz="1200" i="1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b="1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Protected Data</a:t>
            </a:r>
            <a:endParaRPr lang="en-US" altLang="zh-TW" b="1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460375" lvl="1" indent="-285750">
              <a:buFont typeface="Arial" panose="020B0604020202020204" pitchFamily="34" charset="0"/>
              <a:buChar char="•"/>
            </a:pPr>
            <a:r>
              <a:rPr lang="en-US" altLang="zh-TW" sz="1200" i="1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256-bit SSL encrypted, data always stays within the company network</a:t>
            </a:r>
            <a:endParaRPr lang="en-US" altLang="zh-TW" sz="1200" i="1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3025" y="2879403"/>
            <a:ext cx="3914775" cy="2206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圖片 1">
            <a:hlinkClick r:id="rId2" action="ppaction://hlinksldjump"/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6400" y="590550"/>
            <a:ext cx="3352800" cy="25146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5" name="矩形 4"/>
          <p:cNvSpPr/>
          <p:nvPr/>
        </p:nvSpPr>
        <p:spPr>
          <a:xfrm>
            <a:off x="5486400" y="1352550"/>
            <a:ext cx="1676400" cy="990600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" name="矩形 6"/>
          <p:cNvSpPr/>
          <p:nvPr/>
        </p:nvSpPr>
        <p:spPr>
          <a:xfrm>
            <a:off x="7162800" y="1352550"/>
            <a:ext cx="1676400" cy="990600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" name="文字方塊 5"/>
          <p:cNvSpPr txBox="1"/>
          <p:nvPr/>
        </p:nvSpPr>
        <p:spPr>
          <a:xfrm>
            <a:off x="5490911" y="2419350"/>
            <a:ext cx="3348289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zh-TW" sz="1200" dirty="0" smtClean="0">
                <a:solidFill>
                  <a:srgbClr val="FFFF00"/>
                </a:solidFill>
                <a:latin typeface="Calibri" panose="020F0502020204030204" pitchFamily="34" charset="0"/>
              </a:rPr>
              <a:t>Up to 4 screens can be shared on one Intel Unite HUB</a:t>
            </a:r>
            <a:endParaRPr lang="zh-TW" altLang="en-US" sz="1200" dirty="0">
              <a:solidFill>
                <a:srgbClr val="FFFF00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>
                <a:latin typeface="Calibri" panose="020F0502020204030204" pitchFamily="34" charset="0"/>
              </a:rPr>
              <a:t>Intel Unite – How it Works?</a:t>
            </a:r>
            <a:endParaRPr lang="zh-TW" altLang="en-US" dirty="0">
              <a:latin typeface="Calibri" panose="020F0502020204030204" pitchFamily="34" charset="0"/>
            </a:endParaRPr>
          </a:p>
        </p:txBody>
      </p:sp>
      <p:pic>
        <p:nvPicPr>
          <p:cNvPr id="2051" name="Picture 3">
            <a:hlinkClick r:id="rId1" action="ppaction://hlinksldjump"/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742950"/>
            <a:ext cx="8496300" cy="39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7" name="圖片 2056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8655" y="924669"/>
            <a:ext cx="1743745" cy="1113681"/>
          </a:xfrm>
          <a:prstGeom prst="rect">
            <a:avLst/>
          </a:prstGeom>
        </p:spPr>
      </p:pic>
      <p:sp>
        <p:nvSpPr>
          <p:cNvPr id="3" name="標題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>
                <a:latin typeface="Calibri" panose="020F0502020204030204" pitchFamily="34" charset="0"/>
              </a:rPr>
              <a:t>Intel Unite - System Requirements</a:t>
            </a:r>
            <a:endParaRPr lang="zh-TW" altLang="en-US" dirty="0">
              <a:latin typeface="Calibri" panose="020F0502020204030204" pitchFamily="34" charset="0"/>
            </a:endParaRPr>
          </a:p>
        </p:txBody>
      </p:sp>
      <p:graphicFrame>
        <p:nvGraphicFramePr>
          <p:cNvPr id="2" name="內容版面配置區 1"/>
          <p:cNvGraphicFramePr>
            <a:graphicFrameLocks noGrp="1"/>
          </p:cNvGraphicFramePr>
          <p:nvPr>
            <p:ph sz="quarter" idx="12"/>
          </p:nvPr>
        </p:nvGraphicFramePr>
        <p:xfrm>
          <a:off x="381000" y="2434590"/>
          <a:ext cx="8326438" cy="1950720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4163219"/>
                <a:gridCol w="4163219"/>
              </a:tblGrid>
              <a:tr h="350520">
                <a:tc>
                  <a:txBody>
                    <a:bodyPr/>
                    <a:lstStyle/>
                    <a:p>
                      <a:pPr algn="l"/>
                      <a:r>
                        <a:rPr lang="en-US" altLang="zh-TW" sz="18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</a:rPr>
                        <a:t>Hub</a:t>
                      </a:r>
                      <a:endParaRPr lang="zh-TW" altLang="en-US" sz="1800" b="0" dirty="0">
                        <a:solidFill>
                          <a:schemeClr val="bg1"/>
                        </a:solidFill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TW" sz="18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</a:rPr>
                        <a:t>Client</a:t>
                      </a:r>
                      <a:endParaRPr lang="zh-TW" altLang="en-US" sz="1800" b="0" dirty="0">
                        <a:solidFill>
                          <a:schemeClr val="bg1"/>
                        </a:solidFill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altLang="zh-TW" sz="1400" u="none" strike="noStrike" kern="1200" baseline="0" dirty="0" smtClean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</a:rPr>
                        <a:t>Intel </a:t>
                      </a:r>
                      <a:r>
                        <a:rPr lang="en-US" altLang="zh-TW" sz="1400" u="none" strike="noStrike" kern="1200" baseline="0" dirty="0" err="1" smtClean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</a:rPr>
                        <a:t>vPro</a:t>
                      </a:r>
                      <a:r>
                        <a:rPr lang="en-US" altLang="zh-TW" sz="1400" u="none" strike="noStrike" kern="1200" baseline="0" dirty="0" smtClean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</a:rPr>
                        <a:t> processor family based PC </a:t>
                      </a:r>
                      <a:endParaRPr lang="en-US" altLang="zh-TW" sz="1400" u="none" strike="noStrike" kern="1200" baseline="0" dirty="0" smtClean="0">
                        <a:solidFill>
                          <a:srgbClr val="0000FF"/>
                        </a:solidFill>
                        <a:latin typeface="Calibri" panose="020F050202020403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altLang="zh-TW" sz="1400" u="none" strike="noStrike" kern="12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</a:rPr>
                        <a:t>4 GB RAM </a:t>
                      </a:r>
                      <a:endParaRPr lang="en-US" altLang="zh-TW" sz="1400" u="none" strike="noStrike" kern="1200" baseline="0" dirty="0" smtClean="0">
                        <a:solidFill>
                          <a:schemeClr val="tx1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altLang="zh-TW" sz="1400" u="none" strike="noStrike" kern="12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</a:rPr>
                        <a:t>1 GB available storage </a:t>
                      </a:r>
                      <a:endParaRPr lang="en-US" altLang="zh-TW" sz="1400" u="none" strike="noStrike" kern="1200" baseline="0" dirty="0" smtClean="0">
                        <a:solidFill>
                          <a:schemeClr val="tx1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altLang="zh-TW" sz="1400" u="none" strike="noStrike" kern="12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</a:rPr>
                        <a:t>Microsoft Windows 7, 8, 8.1 or 10 </a:t>
                      </a:r>
                      <a:endParaRPr lang="en-US" altLang="zh-TW" sz="1400" u="none" strike="noStrike" kern="1200" baseline="0" dirty="0" smtClean="0">
                        <a:solidFill>
                          <a:schemeClr val="tx1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altLang="zh-TW" sz="1400" u="none" strike="noStrike" kern="12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</a:rPr>
                        <a:t>Microsoft .NET 4 or greater </a:t>
                      </a:r>
                      <a:endParaRPr lang="en-US" altLang="zh-TW" sz="1400" u="none" strike="noStrike" kern="1200" baseline="0" dirty="0" smtClean="0">
                        <a:solidFill>
                          <a:schemeClr val="tx1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altLang="zh-TW" sz="1400" u="none" strike="noStrike" kern="12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</a:rPr>
                        <a:t>Wired or Wireless Network Connection</a:t>
                      </a:r>
                      <a:endParaRPr lang="en-US" altLang="zh-TW" sz="1400" u="none" strike="noStrike" kern="1200" baseline="0" dirty="0" smtClean="0">
                        <a:solidFill>
                          <a:schemeClr val="tx1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altLang="zh-TW" sz="1400" b="0" i="0" u="none" strike="noStrike" kern="1200" baseline="0" dirty="0" smtClean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  <a:hlinkClick r:id="rId2" action="ppaction://hlinksldjump"/>
                        </a:rPr>
                        <a:t>Customized OEM Strings in BIOS</a:t>
                      </a:r>
                      <a:endParaRPr lang="zh-TW" altLang="en-US" sz="1400" b="0" i="0" u="none" strike="noStrike" kern="1200" baseline="0" dirty="0" smtClean="0">
                        <a:solidFill>
                          <a:srgbClr val="0000FF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altLang="zh-TW" sz="1400" u="none" strike="noStrike" kern="12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</a:rPr>
                        <a:t>At least 1 GB RAM </a:t>
                      </a:r>
                      <a:endParaRPr lang="en-US" altLang="zh-TW" sz="1400" u="none" strike="noStrike" kern="1200" baseline="0" dirty="0" smtClean="0">
                        <a:solidFill>
                          <a:schemeClr val="tx1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altLang="zh-TW" sz="1400" u="none" strike="noStrike" kern="12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</a:rPr>
                        <a:t>At least 1 GB available storage </a:t>
                      </a:r>
                      <a:endParaRPr lang="en-US" altLang="zh-TW" sz="1400" u="none" strike="noStrike" kern="1200" baseline="0" dirty="0" smtClean="0">
                        <a:solidFill>
                          <a:schemeClr val="tx1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altLang="zh-TW" sz="1400" u="none" strike="noStrike" kern="12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</a:rPr>
                        <a:t>Microsoft Windows 7, 8, 8.1 or 10 </a:t>
                      </a:r>
                      <a:endParaRPr lang="en-US" altLang="zh-TW" sz="1400" u="none" strike="noStrike" kern="1200" baseline="0" dirty="0" smtClean="0">
                        <a:solidFill>
                          <a:schemeClr val="tx1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altLang="zh-TW" sz="1400" u="none" strike="noStrike" kern="12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</a:rPr>
                        <a:t>Microsoft .NET 4 or greater </a:t>
                      </a:r>
                      <a:endParaRPr lang="en-US" altLang="zh-TW" sz="1400" u="none" strike="noStrike" kern="1200" baseline="0" dirty="0" smtClean="0">
                        <a:solidFill>
                          <a:schemeClr val="tx1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altLang="zh-TW" sz="1400" u="none" strike="noStrike" kern="12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</a:rPr>
                        <a:t>Apple Mac OSX 10.9 or greater </a:t>
                      </a:r>
                      <a:endParaRPr lang="zh-TW" altLang="en-US" sz="1400" b="0" i="0" u="none" strike="noStrike" kern="1200" baseline="0" dirty="0" smtClean="0">
                        <a:solidFill>
                          <a:schemeClr val="tx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文字方塊 4"/>
          <p:cNvSpPr txBox="1"/>
          <p:nvPr/>
        </p:nvSpPr>
        <p:spPr>
          <a:xfrm>
            <a:off x="4114800" y="1615851"/>
            <a:ext cx="624402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altLang="zh-TW" sz="1400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Wireless</a:t>
            </a:r>
            <a:endParaRPr lang="en-US" altLang="zh-TW" sz="1400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317292"/>
            <a:ext cx="1992898" cy="1803098"/>
          </a:xfrm>
          <a:prstGeom prst="rect">
            <a:avLst/>
          </a:prstGeom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1824" y="1979114"/>
            <a:ext cx="1116176" cy="758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圖片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1166047"/>
            <a:ext cx="620957" cy="616473"/>
          </a:xfrm>
          <a:prstGeom prst="rect">
            <a:avLst/>
          </a:prstGeom>
        </p:spPr>
      </p:pic>
      <p:pic>
        <p:nvPicPr>
          <p:cNvPr id="7" name="圖片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8117" y="1169332"/>
            <a:ext cx="623199" cy="620957"/>
          </a:xfrm>
          <a:prstGeom prst="rect">
            <a:avLst/>
          </a:prstGeom>
        </p:spPr>
      </p:pic>
      <p:pic>
        <p:nvPicPr>
          <p:cNvPr id="32" name="圖片 3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800" y="1942689"/>
            <a:ext cx="1035459" cy="465785"/>
          </a:xfrm>
          <a:prstGeom prst="rect">
            <a:avLst/>
          </a:prstGeom>
        </p:spPr>
      </p:pic>
      <p:pic>
        <p:nvPicPr>
          <p:cNvPr id="13" name="圖片 1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400" y="1762841"/>
            <a:ext cx="1207284" cy="995061"/>
          </a:xfrm>
          <a:prstGeom prst="rect">
            <a:avLst/>
          </a:prstGeom>
        </p:spPr>
      </p:pic>
      <p:cxnSp>
        <p:nvCxnSpPr>
          <p:cNvPr id="2054" name="直線單箭頭接點 2053"/>
          <p:cNvCxnSpPr/>
          <p:nvPr/>
        </p:nvCxnSpPr>
        <p:spPr>
          <a:xfrm>
            <a:off x="3200400" y="1866489"/>
            <a:ext cx="2393541" cy="0"/>
          </a:xfrm>
          <a:prstGeom prst="straightConnector1">
            <a:avLst/>
          </a:prstGeom>
          <a:ln w="19050">
            <a:solidFill>
              <a:schemeClr val="tx1">
                <a:lumMod val="50000"/>
              </a:schemeClr>
            </a:solidFill>
            <a:prstDash val="sys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>
                <a:latin typeface="Calibri" panose="020F0502020204030204" pitchFamily="34" charset="0"/>
              </a:rPr>
              <a:t>Intel Unite </a:t>
            </a:r>
            <a:r>
              <a:rPr lang="en-US" altLang="zh-TW" dirty="0" smtClean="0">
                <a:latin typeface="Calibri" panose="020F0502020204030204" pitchFamily="34" charset="0"/>
              </a:rPr>
              <a:t>– BIOS Requirement</a:t>
            </a:r>
            <a:endParaRPr lang="zh-TW" altLang="en-US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460F7E-BF8E-4752-A3EA-71DCEBC1B1D4}" type="slidenum">
              <a:rPr lang="en-US" smtClean="0">
                <a:solidFill>
                  <a:srgbClr val="83B81A"/>
                </a:solidFill>
              </a:rPr>
            </a:fld>
            <a:endParaRPr lang="en-US" dirty="0">
              <a:solidFill>
                <a:srgbClr val="83B81A"/>
              </a:solidFill>
            </a:endParaRPr>
          </a:p>
        </p:txBody>
      </p:sp>
      <p:pic>
        <p:nvPicPr>
          <p:cNvPr id="5" name="圖片 4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1276350"/>
            <a:ext cx="7543800" cy="3561918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914400" y="3390468"/>
            <a:ext cx="1371600" cy="1524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" name="矩形 6"/>
          <p:cNvSpPr/>
          <p:nvPr/>
        </p:nvSpPr>
        <p:spPr>
          <a:xfrm>
            <a:off x="3733800" y="3466668"/>
            <a:ext cx="1295400" cy="1524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8" name="文字方塊 7"/>
          <p:cNvSpPr txBox="1"/>
          <p:nvPr/>
        </p:nvSpPr>
        <p:spPr>
          <a:xfrm>
            <a:off x="762000" y="930051"/>
            <a:ext cx="7543800" cy="1938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zh-TW" sz="1400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Intel Unite requires </a:t>
            </a:r>
            <a:r>
              <a:rPr lang="en-US" altLang="zh-TW" sz="14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OEM Strings</a:t>
            </a:r>
            <a:r>
              <a:rPr lang="en-US" altLang="zh-TW" sz="1400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 in BIOS type 11, set String2 to “</a:t>
            </a:r>
            <a:r>
              <a:rPr lang="en-US" altLang="zh-TW" sz="1400" dirty="0" err="1" smtClean="0">
                <a:solidFill>
                  <a:srgbClr val="FF0000"/>
                </a:solidFill>
                <a:latin typeface="Calibri" panose="020F0502020204030204" pitchFamily="34" charset="0"/>
              </a:rPr>
              <a:t>IntelUnite</a:t>
            </a:r>
            <a:r>
              <a:rPr lang="en-US" altLang="zh-TW" sz="1400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”</a:t>
            </a:r>
            <a:endParaRPr lang="zh-TW" altLang="en-US" sz="1400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>
                <a:latin typeface="Calibri" panose="020F0502020204030204" pitchFamily="34" charset="0"/>
              </a:rPr>
              <a:t>Intel Unite - Bundle Policy</a:t>
            </a:r>
            <a:endParaRPr lang="zh-TW" altLang="en-US" dirty="0">
              <a:latin typeface="Calibri" panose="020F0502020204030204" pitchFamily="34" charset="0"/>
            </a:endParaRPr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>
          <a:xfrm>
            <a:off x="381000" y="971550"/>
            <a:ext cx="5616684" cy="370522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b="1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Preload</a:t>
            </a:r>
            <a:r>
              <a:rPr lang="en-US" altLang="zh-TW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 Intel Unite </a:t>
            </a:r>
            <a:r>
              <a:rPr lang="en-US" altLang="zh-TW" b="1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standalone HUB</a:t>
            </a:r>
            <a:r>
              <a:rPr lang="en-US" altLang="zh-TW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 on </a:t>
            </a:r>
            <a:r>
              <a:rPr lang="en-US" altLang="zh-TW" dirty="0" err="1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vPro</a:t>
            </a:r>
            <a:r>
              <a:rPr lang="en-US" altLang="zh-TW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 capable </a:t>
            </a:r>
            <a:r>
              <a:rPr lang="en-US" altLang="zh-TW" b="1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mini-PCs</a:t>
            </a:r>
            <a:r>
              <a:rPr lang="en-US" altLang="zh-TW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 and </a:t>
            </a:r>
            <a:r>
              <a:rPr lang="en-US" altLang="zh-TW" b="1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All-in-One</a:t>
            </a:r>
            <a:r>
              <a:rPr lang="en-US" altLang="zh-TW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, starting from </a:t>
            </a:r>
            <a:r>
              <a:rPr lang="en-US" altLang="zh-TW" b="1" dirty="0" err="1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vIronbox</a:t>
            </a:r>
            <a:r>
              <a:rPr lang="en-US" altLang="zh-TW" b="1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 (VN6640G) </a:t>
            </a:r>
            <a:r>
              <a:rPr lang="en-US" altLang="zh-TW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and </a:t>
            </a:r>
            <a:r>
              <a:rPr lang="en-US" altLang="zh-TW" b="1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vWoody238 (VZ6820G</a:t>
            </a:r>
            <a:r>
              <a:rPr lang="en-US" altLang="zh-TW" b="1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)</a:t>
            </a:r>
            <a:endParaRPr lang="en-US" altLang="zh-TW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Available in </a:t>
            </a:r>
            <a:r>
              <a:rPr lang="en-US" altLang="zh-TW" b="1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2016 Q2</a:t>
            </a:r>
            <a:endParaRPr lang="en-US" altLang="zh-TW" b="1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Support W7, W10, and new Windows release</a:t>
            </a:r>
            <a:endParaRPr lang="en-US" altLang="zh-TW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Install Intel Unite in </a:t>
            </a:r>
            <a:r>
              <a:rPr lang="en-US" altLang="zh-TW" b="1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Acer </a:t>
            </a:r>
            <a:r>
              <a:rPr lang="en-US" altLang="zh-TW" b="1" dirty="0" err="1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ControlCenter</a:t>
            </a:r>
            <a:r>
              <a:rPr lang="en-US" altLang="zh-TW" b="1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en-US" altLang="zh-TW" b="1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-&gt; Software Assembler</a:t>
            </a:r>
            <a:endParaRPr lang="en-US" altLang="zh-TW" b="1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7684" y="3001362"/>
            <a:ext cx="1665786" cy="749328"/>
          </a:xfrm>
          <a:prstGeom prst="rect">
            <a:avLst/>
          </a:prstGeom>
        </p:spPr>
      </p:pic>
      <p:pic>
        <p:nvPicPr>
          <p:cNvPr id="7" name="圖片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2684" y="2760090"/>
            <a:ext cx="1089804" cy="1765759"/>
          </a:xfrm>
          <a:prstGeom prst="rect">
            <a:avLst/>
          </a:prstGeom>
        </p:spPr>
      </p:pic>
      <p:pic>
        <p:nvPicPr>
          <p:cNvPr id="8" name="圖片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7684" y="3714750"/>
            <a:ext cx="2011919" cy="842110"/>
          </a:xfrm>
          <a:prstGeom prst="rect">
            <a:avLst/>
          </a:prstGeom>
        </p:spPr>
      </p:pic>
      <p:pic>
        <p:nvPicPr>
          <p:cNvPr id="9" name="圖片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9800" y="564076"/>
            <a:ext cx="2620764" cy="216007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標題 3"/>
          <p:cNvSpPr>
            <a:spLocks noGrp="1"/>
          </p:cNvSpPr>
          <p:nvPr>
            <p:ph type="title"/>
          </p:nvPr>
        </p:nvSpPr>
        <p:spPr>
          <a:xfrm>
            <a:off x="365919" y="209550"/>
            <a:ext cx="8418512" cy="409575"/>
          </a:xfrm>
        </p:spPr>
        <p:txBody>
          <a:bodyPr/>
          <a:lstStyle/>
          <a:p>
            <a:r>
              <a:rPr lang="en-US" altLang="zh-TW" dirty="0" smtClean="0">
                <a:latin typeface="Calibri" panose="020F0502020204030204" pitchFamily="34" charset="0"/>
              </a:rPr>
              <a:t>ODM Validation for Intel Unite</a:t>
            </a:r>
            <a:endParaRPr lang="zh-TW" altLang="en-US" dirty="0">
              <a:latin typeface="Calibri" panose="020F0502020204030204" pitchFamily="34" charset="0"/>
            </a:endParaRP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460F7E-BF8E-4752-A3EA-71DCEBC1B1D4}" type="slidenum">
              <a:rPr lang="en-US" smtClean="0">
                <a:solidFill>
                  <a:prstClr val="white"/>
                </a:solidFill>
              </a:rPr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2"/>
          </p:nvPr>
        </p:nvSpPr>
        <p:spPr>
          <a:xfrm>
            <a:off x="365125" y="708025"/>
            <a:ext cx="8418513" cy="3616325"/>
          </a:xfrm>
        </p:spPr>
        <p:txBody>
          <a:bodyPr/>
          <a:lstStyle/>
          <a:p>
            <a:r>
              <a:rPr lang="en-US" altLang="zh-TW" b="1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HUB * 1 (The system which Intel Unite HUB is running on)</a:t>
            </a:r>
            <a:endParaRPr lang="en-US" altLang="zh-TW" b="1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sz="1400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BIOS OEM </a:t>
            </a:r>
            <a:r>
              <a:rPr lang="en-US" altLang="zh-TW" sz="140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string “</a:t>
            </a:r>
            <a:r>
              <a:rPr lang="en-US" altLang="zh-TW" sz="1400" dirty="0" err="1">
                <a:solidFill>
                  <a:srgbClr val="0000FF"/>
                </a:solidFill>
                <a:latin typeface="Calibri" panose="020F0502020204030204" pitchFamily="34" charset="0"/>
              </a:rPr>
              <a:t>IntelUnite</a:t>
            </a:r>
            <a:r>
              <a:rPr lang="en-US" altLang="zh-TW" sz="140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” should be in </a:t>
            </a:r>
            <a:r>
              <a:rPr lang="en-US" altLang="zh-TW" sz="1400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place</a:t>
            </a:r>
            <a:endParaRPr lang="en-US" altLang="zh-TW" sz="1400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sz="140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I</a:t>
            </a:r>
            <a:r>
              <a:rPr lang="en-US" altLang="zh-TW" sz="1400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nstall </a:t>
            </a:r>
            <a:r>
              <a:rPr lang="en-US" altLang="zh-TW" sz="140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Intel Unite HUB from Acer </a:t>
            </a:r>
            <a:r>
              <a:rPr lang="en-US" altLang="zh-TW" sz="1400" dirty="0" err="1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ControlCenter</a:t>
            </a:r>
            <a:r>
              <a:rPr lang="en-US" altLang="zh-TW" sz="140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 and can open it </a:t>
            </a:r>
            <a:r>
              <a:rPr lang="en-US" altLang="zh-TW" sz="1400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successfully (show the landing screen with URL/PIN/Shared Key)</a:t>
            </a:r>
            <a:endParaRPr lang="en-US" altLang="zh-TW" sz="1400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lvl="1" indent="0">
              <a:buNone/>
            </a:pPr>
            <a:endParaRPr lang="en-US" altLang="zh-TW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r>
              <a:rPr lang="en-US" altLang="zh-TW" b="1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Client * 2 (any Windows PC connected to the same subnet with the HUB system)</a:t>
            </a:r>
            <a:endParaRPr lang="en-US" altLang="zh-TW" b="1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sz="1400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Can download Intel Unite client from the URL displayed on HUB, and can install the client successfully</a:t>
            </a:r>
            <a:endParaRPr lang="en-US" altLang="zh-TW" sz="1400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sz="1400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Can successfully join a meeting and share screen / make annotation / share files to other attendees</a:t>
            </a:r>
            <a:endParaRPr lang="en-US" altLang="zh-TW" sz="1400" dirty="0" smtClean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內容版面配置區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r>
              <a:rPr lang="en-US" altLang="zh-TW" i="0" dirty="0" smtClean="0">
                <a:latin typeface="Calibri" panose="020F0502020204030204" pitchFamily="34" charset="0"/>
              </a:rPr>
              <a:t>Remarks</a:t>
            </a:r>
            <a:endParaRPr lang="zh-TW" altLang="en-US" i="0" dirty="0">
              <a:latin typeface="Calibri" panose="020F0502020204030204" pitchFamily="34" charset="0"/>
            </a:endParaRP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60F7E-BF8E-4752-A3EA-71DCEBC1B1D4}" type="slidenum">
              <a:rPr lang="en-US" smtClean="0">
                <a:solidFill>
                  <a:srgbClr val="83B81A"/>
                </a:solidFill>
              </a:rPr>
            </a:fld>
            <a:endParaRPr lang="en-US" dirty="0">
              <a:solidFill>
                <a:srgbClr val="83B81A"/>
              </a:solidFill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2200" y="766491"/>
            <a:ext cx="2633770" cy="401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標題 2"/>
          <p:cNvSpPr>
            <a:spLocks noGrp="1"/>
          </p:cNvSpPr>
          <p:nvPr>
            <p:ph type="title"/>
          </p:nvPr>
        </p:nvSpPr>
        <p:spPr>
          <a:xfrm>
            <a:off x="365919" y="133350"/>
            <a:ext cx="8418512" cy="409575"/>
          </a:xfrm>
        </p:spPr>
        <p:txBody>
          <a:bodyPr/>
          <a:lstStyle/>
          <a:p>
            <a:r>
              <a:rPr lang="en-US" altLang="zh-TW" sz="2400" dirty="0" smtClean="0">
                <a:latin typeface="Calibri" panose="020F0502020204030204" pitchFamily="34" charset="0"/>
              </a:rPr>
              <a:t>Intel Unite – Landing Screen on Unite HUB</a:t>
            </a:r>
            <a:endParaRPr lang="zh-TW" altLang="en-US" sz="2400" dirty="0">
              <a:latin typeface="Calibri" panose="020F0502020204030204" pitchFamily="34" charset="0"/>
            </a:endParaRPr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600" y="742950"/>
            <a:ext cx="5359400" cy="4019550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1143000" y="2343150"/>
            <a:ext cx="3733800" cy="800100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cxnSp>
        <p:nvCxnSpPr>
          <p:cNvPr id="7" name="直線單箭頭接點 6"/>
          <p:cNvCxnSpPr/>
          <p:nvPr/>
        </p:nvCxnSpPr>
        <p:spPr>
          <a:xfrm>
            <a:off x="5029200" y="2776266"/>
            <a:ext cx="1524000" cy="0"/>
          </a:xfrm>
          <a:prstGeom prst="straightConnector1">
            <a:avLst/>
          </a:prstGeom>
          <a:ln w="19050">
            <a:solidFill>
              <a:srgbClr val="FFFF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文字方塊 7"/>
          <p:cNvSpPr txBox="1"/>
          <p:nvPr/>
        </p:nvSpPr>
        <p:spPr>
          <a:xfrm>
            <a:off x="1143000" y="3216152"/>
            <a:ext cx="4139788" cy="498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28600" indent="-228600">
              <a:lnSpc>
                <a:spcPct val="90000"/>
              </a:lnSpc>
              <a:buAutoNum type="arabicPeriod"/>
            </a:pPr>
            <a:r>
              <a:rPr lang="en-US" altLang="zh-TW" sz="1200" dirty="0" smtClean="0">
                <a:solidFill>
                  <a:srgbClr val="FFFF00"/>
                </a:solidFill>
                <a:latin typeface="Calibri" panose="020F0502020204030204" pitchFamily="34" charset="0"/>
              </a:rPr>
              <a:t>Download Unite Client via browser</a:t>
            </a:r>
            <a:endParaRPr lang="en-US" altLang="zh-TW" sz="1200" dirty="0" smtClean="0">
              <a:solidFill>
                <a:srgbClr val="FFFF00"/>
              </a:solidFill>
              <a:latin typeface="Calibri" panose="020F0502020204030204" pitchFamily="34" charset="0"/>
            </a:endParaRPr>
          </a:p>
          <a:p>
            <a:pPr marL="228600" indent="-228600">
              <a:lnSpc>
                <a:spcPct val="90000"/>
              </a:lnSpc>
              <a:buAutoNum type="arabicPeriod"/>
            </a:pPr>
            <a:r>
              <a:rPr lang="en-US" altLang="zh-TW" sz="1200" dirty="0" smtClean="0">
                <a:solidFill>
                  <a:srgbClr val="FFFF00"/>
                </a:solidFill>
                <a:latin typeface="Calibri" panose="020F0502020204030204" pitchFamily="34" charset="0"/>
              </a:rPr>
              <a:t>Install Unite Client on any attendee’s PC</a:t>
            </a:r>
            <a:endParaRPr lang="en-US" altLang="zh-TW" sz="1200" dirty="0" smtClean="0">
              <a:solidFill>
                <a:srgbClr val="FFFF00"/>
              </a:solidFill>
              <a:latin typeface="Calibri" panose="020F0502020204030204" pitchFamily="34" charset="0"/>
            </a:endParaRPr>
          </a:p>
          <a:p>
            <a:pPr marL="228600" indent="-228600">
              <a:lnSpc>
                <a:spcPct val="90000"/>
              </a:lnSpc>
              <a:buAutoNum type="arabicPeriod"/>
            </a:pPr>
            <a:r>
              <a:rPr lang="en-US" altLang="zh-TW" sz="1200" dirty="0" smtClean="0">
                <a:solidFill>
                  <a:srgbClr val="FFFF00"/>
                </a:solidFill>
                <a:latin typeface="Calibri" panose="020F0502020204030204" pitchFamily="34" charset="0"/>
              </a:rPr>
              <a:t>Connect the client and HUB with PIN and shared key protected</a:t>
            </a:r>
            <a:endParaRPr lang="zh-TW" altLang="en-US" sz="1200" dirty="0">
              <a:solidFill>
                <a:srgbClr val="FFFF00"/>
              </a:solidFill>
              <a:latin typeface="Calibri" panose="020F0502020204030204" pitchFamily="34" charset="0"/>
            </a:endParaRPr>
          </a:p>
        </p:txBody>
      </p:sp>
      <p:sp>
        <p:nvSpPr>
          <p:cNvPr id="9" name="圓角矩形 8"/>
          <p:cNvSpPr/>
          <p:nvPr/>
        </p:nvSpPr>
        <p:spPr>
          <a:xfrm>
            <a:off x="2362200" y="514350"/>
            <a:ext cx="1066800" cy="304800"/>
          </a:xfrm>
          <a:prstGeom prst="round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400" dirty="0" smtClean="0">
                <a:latin typeface="Calibri" panose="020F0502020204030204" pitchFamily="34" charset="0"/>
              </a:rPr>
              <a:t>Unite HUB</a:t>
            </a:r>
            <a:endParaRPr lang="zh-TW" altLang="en-US" sz="1400" dirty="0">
              <a:latin typeface="Calibri" panose="020F0502020204030204" pitchFamily="34" charset="0"/>
            </a:endParaRPr>
          </a:p>
        </p:txBody>
      </p:sp>
      <p:sp>
        <p:nvSpPr>
          <p:cNvPr id="11" name="圓角矩形 10"/>
          <p:cNvSpPr/>
          <p:nvPr/>
        </p:nvSpPr>
        <p:spPr>
          <a:xfrm>
            <a:off x="6858000" y="514350"/>
            <a:ext cx="1219200" cy="304800"/>
          </a:xfrm>
          <a:prstGeom prst="round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400" dirty="0" smtClean="0">
                <a:latin typeface="Calibri" panose="020F0502020204030204" pitchFamily="34" charset="0"/>
              </a:rPr>
              <a:t>Unite Client</a:t>
            </a:r>
            <a:endParaRPr lang="zh-TW" altLang="en-US" sz="1400" dirty="0">
              <a:latin typeface="Calibri" panose="020F0502020204030204" pitchFamily="34" charset="0"/>
            </a:endParaRPr>
          </a:p>
        </p:txBody>
      </p:sp>
      <p:sp>
        <p:nvSpPr>
          <p:cNvPr id="10" name="圓角矩形 9">
            <a:hlinkClick r:id="rId3" action="ppaction://hlinksldjump"/>
          </p:cNvPr>
          <p:cNvSpPr/>
          <p:nvPr/>
        </p:nvSpPr>
        <p:spPr>
          <a:xfrm>
            <a:off x="8305800" y="0"/>
            <a:ext cx="838200" cy="285750"/>
          </a:xfrm>
          <a:prstGeom prst="round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200" dirty="0" smtClean="0">
                <a:latin typeface="Calibri" panose="020F0502020204030204" pitchFamily="34" charset="0"/>
              </a:rPr>
              <a:t>Back</a:t>
            </a:r>
            <a:endParaRPr lang="zh-TW" altLang="en-US" sz="1200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ACER">
      <a:dk1>
        <a:srgbClr val="414042"/>
      </a:dk1>
      <a:lt1>
        <a:sysClr val="window" lastClr="FFFFFF"/>
      </a:lt1>
      <a:dk2>
        <a:srgbClr val="5E6A71"/>
      </a:dk2>
      <a:lt2>
        <a:srgbClr val="BBBDBF"/>
      </a:lt2>
      <a:accent1>
        <a:srgbClr val="3F9C35"/>
      </a:accent1>
      <a:accent2>
        <a:srgbClr val="83B81A"/>
      </a:accent2>
      <a:accent3>
        <a:srgbClr val="B8D774"/>
      </a:accent3>
      <a:accent4>
        <a:srgbClr val="DFF0D8"/>
      </a:accent4>
      <a:accent5>
        <a:srgbClr val="00AFA9"/>
      </a:accent5>
      <a:accent6>
        <a:srgbClr val="EAEA39"/>
      </a:accent6>
      <a:hlink>
        <a:srgbClr val="0000FF"/>
      </a:hlink>
      <a:folHlink>
        <a:srgbClr val="800080"/>
      </a:folHlink>
    </a:clrScheme>
    <a:fontScheme name="AcerPlaybook">
      <a:majorFont>
        <a:latin typeface="Acer Foco Semibold"/>
        <a:ea typeface=""/>
        <a:cs typeface=""/>
      </a:majorFont>
      <a:minorFont>
        <a:latin typeface="Acer Foc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lnSpc>
            <a:spcPct val="90000"/>
          </a:lnSpc>
          <a:defRPr sz="1000" dirty="0" smtClean="0">
            <a:solidFill>
              <a:schemeClr val="tx2"/>
            </a:solidFill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cer-16-9">
  <a:themeElements>
    <a:clrScheme name="ACER">
      <a:dk1>
        <a:srgbClr val="414042"/>
      </a:dk1>
      <a:lt1>
        <a:sysClr val="window" lastClr="FFFFFF"/>
      </a:lt1>
      <a:dk2>
        <a:srgbClr val="5E6A71"/>
      </a:dk2>
      <a:lt2>
        <a:srgbClr val="BBBDBF"/>
      </a:lt2>
      <a:accent1>
        <a:srgbClr val="3F9C35"/>
      </a:accent1>
      <a:accent2>
        <a:srgbClr val="83B81A"/>
      </a:accent2>
      <a:accent3>
        <a:srgbClr val="B8D774"/>
      </a:accent3>
      <a:accent4>
        <a:srgbClr val="DFF0D8"/>
      </a:accent4>
      <a:accent5>
        <a:srgbClr val="00AFA9"/>
      </a:accent5>
      <a:accent6>
        <a:srgbClr val="EAEA39"/>
      </a:accent6>
      <a:hlink>
        <a:srgbClr val="0000FF"/>
      </a:hlink>
      <a:folHlink>
        <a:srgbClr val="800080"/>
      </a:folHlink>
    </a:clrScheme>
    <a:fontScheme name="Acer Foco">
      <a:majorFont>
        <a:latin typeface="Acer Foco Semibold"/>
        <a:ea typeface=""/>
        <a:cs typeface=""/>
      </a:majorFont>
      <a:minorFont>
        <a:latin typeface="Acer Foc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2"/>
          </a:solidFill>
          <a:prstDash val="sys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lnSpc>
            <a:spcPct val="90000"/>
          </a:lnSpc>
          <a:defRPr dirty="0">
            <a:solidFill>
              <a:srgbClr val="5E6A71"/>
            </a:solidFill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038</Words>
  <Application>WPS 演示</Application>
  <PresentationFormat>如螢幕大小 (16:9)</PresentationFormat>
  <Paragraphs>154</Paragraphs>
  <Slides>19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35" baseType="lpstr">
      <vt:lpstr>Arial</vt:lpstr>
      <vt:lpstr>宋体</vt:lpstr>
      <vt:lpstr>Wingdings</vt:lpstr>
      <vt:lpstr>MS PGothic</vt:lpstr>
      <vt:lpstr>Acer Foco</vt:lpstr>
      <vt:lpstr>Segoe Print</vt:lpstr>
      <vt:lpstr>Acer Foco Light</vt:lpstr>
      <vt:lpstr>Acer Foco Semibold</vt:lpstr>
      <vt:lpstr>Calibri</vt:lpstr>
      <vt:lpstr>PMingLiU</vt:lpstr>
      <vt:lpstr>微软雅黑</vt:lpstr>
      <vt:lpstr>Arial Unicode MS</vt:lpstr>
      <vt:lpstr>PMingLiU-ExtB</vt:lpstr>
      <vt:lpstr>2_Office Theme</vt:lpstr>
      <vt:lpstr>Acer-16-9</vt:lpstr>
      <vt:lpstr>TCLayout.ActiveDocument.1</vt:lpstr>
      <vt:lpstr>PowerPoint 演示文稿</vt:lpstr>
      <vt:lpstr>Intel Unite – Smart, Secure Conference Room Technology</vt:lpstr>
      <vt:lpstr>Intel Unite – How it Works?</vt:lpstr>
      <vt:lpstr>Intel Unite - System Requirements</vt:lpstr>
      <vt:lpstr>Intel Unite – BIOS Requirement</vt:lpstr>
      <vt:lpstr>Intel Unite - Bundle Policy</vt:lpstr>
      <vt:lpstr>ODM Validation for Intel Unite</vt:lpstr>
      <vt:lpstr>PowerPoint 演示文稿</vt:lpstr>
      <vt:lpstr>Intel Unite – Landing Screen on Unite HUB</vt:lpstr>
      <vt:lpstr>Intel Unite – Sharing screens on one Display</vt:lpstr>
      <vt:lpstr>Intel Unite – Join a Meeting 01 (Enter PIN code)</vt:lpstr>
      <vt:lpstr>Intel Unite – Join a Meeting 02 (Connected to HUB)</vt:lpstr>
      <vt:lpstr>Intel Unite – Join a Meeting 03 (share screen &amp; make annotations)</vt:lpstr>
      <vt:lpstr>Intel Unite – Join a Meeting 04 (share files to other attendees)</vt:lpstr>
      <vt:lpstr>PowerPoint 演示文稿</vt:lpstr>
      <vt:lpstr>01. Installing Intel Unite Client</vt:lpstr>
      <vt:lpstr>02. Connect the Client to the HUB</vt:lpstr>
      <vt:lpstr>03. Sharing screen to the HUB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ave everything under control</dc:title>
  <dc:creator>Liao, George</dc:creator>
  <cp:lastModifiedBy>亮歌</cp:lastModifiedBy>
  <cp:revision>226</cp:revision>
  <dcterms:created xsi:type="dcterms:W3CDTF">2006-08-16T00:00:00Z</dcterms:created>
  <dcterms:modified xsi:type="dcterms:W3CDTF">2020-12-12T03:03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0228</vt:lpwstr>
  </property>
</Properties>
</file>